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8"/>
  </p:notesMasterIdLst>
  <p:sldIdLst>
    <p:sldId id="394" r:id="rId5"/>
    <p:sldId id="395" r:id="rId6"/>
    <p:sldId id="413" r:id="rId7"/>
    <p:sldId id="414" r:id="rId8"/>
    <p:sldId id="411" r:id="rId9"/>
    <p:sldId id="419" r:id="rId10"/>
    <p:sldId id="420" r:id="rId11"/>
    <p:sldId id="407" r:id="rId12"/>
    <p:sldId id="408" r:id="rId13"/>
    <p:sldId id="415" r:id="rId14"/>
    <p:sldId id="417" r:id="rId15"/>
    <p:sldId id="418" r:id="rId16"/>
    <p:sldId id="416" r:id="rId17"/>
  </p:sldIdLst>
  <p:sldSz cx="12192000" cy="6858000"/>
  <p:notesSz cx="6858000" cy="9144000"/>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Pharma Data Skills 301" id="{CE25109D-E847-40CA-8DEC-066DADDCD4B2}">
          <p14:sldIdLst>
            <p14:sldId id="394"/>
            <p14:sldId id="395"/>
            <p14:sldId id="413"/>
            <p14:sldId id="414"/>
            <p14:sldId id="411"/>
            <p14:sldId id="419"/>
            <p14:sldId id="420"/>
            <p14:sldId id="407"/>
            <p14:sldId id="408"/>
            <p14:sldId id="415"/>
            <p14:sldId id="417"/>
            <p14:sldId id="418"/>
            <p14:sldId id="41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4CEA7E-C07E-FAF2-B2E0-39BB02AD7B64}" name="Shinde, Samwad" initials="SS" userId="S::shindsam@merck.com::40922429-2f7d-4c1d-90df-ddf76551a42d" providerId="AD"/>
  <p188:author id="{4FCA97FB-6B76-332A-043B-AC8FCD5594B2}" name="kapoor, aditya" initials="ka" userId="S::kapooadi@merck.com::681f1a22-e9fb-42b0-aa12-aec6248a717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rck &amp; Co., Inc." initials="LC" lastIdx="3"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FED33"/>
    <a:srgbClr val="FFE70B"/>
    <a:srgbClr val="FF0000"/>
    <a:srgbClr val="00857C"/>
    <a:srgbClr val="9EA7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6192"/>
  </p:normalViewPr>
  <p:slideViewPr>
    <p:cSldViewPr snapToGrid="0" showGuides="1">
      <p:cViewPr varScale="1">
        <p:scale>
          <a:sx n="60" d="100"/>
          <a:sy n="60" d="100"/>
        </p:scale>
        <p:origin x="840" y="5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17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wpushh01\dinfopln\PRA\Training%20and%20Courses\HHDDA\MMX\4.%20Data%20Transformation\Data%20Transformation.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wpushh01\dinfopln\PRA\Training%20and%20Courses\HHDDA\MMX\4.%20Data%20Transformation\Data%20Transformation.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wpushh01\dinfopln\PRA\Training%20and%20Courses\HHDDA\MMX\4.%20Data%20Transformation\Data%20Transformation.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wpushh01\dinfopln\PRA\Training%20and%20Courses\HHDDA\MMX\4.%20Data%20Transformation\Data%20Transformation.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162360209987225E-2"/>
          <c:y val="0"/>
          <c:w val="0.97367527958002553"/>
          <c:h val="0.82188374036350853"/>
        </c:manualLayout>
      </c:layout>
      <c:barChart>
        <c:barDir val="col"/>
        <c:grouping val="stacked"/>
        <c:varyColors val="0"/>
        <c:ser>
          <c:idx val="0"/>
          <c:order val="0"/>
          <c:tx>
            <c:strRef>
              <c:f>Sheet1!$B$1</c:f>
              <c:strCache>
                <c:ptCount val="1"/>
                <c:pt idx="0">
                  <c:v>Series 1</c:v>
                </c:pt>
              </c:strCache>
            </c:strRef>
          </c:tx>
          <c:spPr>
            <a:solidFill>
              <a:srgbClr val="3366FF"/>
            </a:solidFill>
          </c:spPr>
          <c:invertIfNegative val="0"/>
          <c:dPt>
            <c:idx val="0"/>
            <c:invertIfNegative val="0"/>
            <c:bubble3D val="0"/>
            <c:spPr>
              <a:solidFill>
                <a:srgbClr val="33CC33"/>
              </a:solidFill>
            </c:spPr>
            <c:extLst>
              <c:ext xmlns:c16="http://schemas.microsoft.com/office/drawing/2014/chart" uri="{C3380CC4-5D6E-409C-BE32-E72D297353CC}">
                <c16:uniqueId val="{00000001-A349-46C7-A1F3-50A830D10066}"/>
              </c:ext>
            </c:extLst>
          </c:dPt>
          <c:cat>
            <c:numRef>
              <c:f>Sheet1!$A$2:$A$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cat>
          <c:val>
            <c:numRef>
              <c:f>Sheet1!$B$2:$B$15</c:f>
              <c:numCache>
                <c:formatCode>General</c:formatCode>
                <c:ptCount val="14"/>
                <c:pt idx="0">
                  <c:v>7</c:v>
                </c:pt>
                <c:pt idx="1">
                  <c:v>4.8999999999999995</c:v>
                </c:pt>
                <c:pt idx="2">
                  <c:v>3.4299999999999993</c:v>
                </c:pt>
                <c:pt idx="3">
                  <c:v>2.4009999999999994</c:v>
                </c:pt>
                <c:pt idx="4">
                  <c:v>1.6806999999999994</c:v>
                </c:pt>
                <c:pt idx="5">
                  <c:v>1.1764899999999996</c:v>
                </c:pt>
                <c:pt idx="6">
                  <c:v>0.82354299999999969</c:v>
                </c:pt>
                <c:pt idx="7">
                  <c:v>0.57648009999999972</c:v>
                </c:pt>
                <c:pt idx="8">
                  <c:v>0.4035360699999998</c:v>
                </c:pt>
                <c:pt idx="9">
                  <c:v>0.28247524899999982</c:v>
                </c:pt>
                <c:pt idx="10">
                  <c:v>0.19773267429999986</c:v>
                </c:pt>
                <c:pt idx="11">
                  <c:v>0.13841287200999988</c:v>
                </c:pt>
                <c:pt idx="12">
                  <c:v>9.6889010406999918E-2</c:v>
                </c:pt>
                <c:pt idx="13">
                  <c:v>6.7822307284899935E-2</c:v>
                </c:pt>
              </c:numCache>
            </c:numRef>
          </c:val>
          <c:extLst>
            <c:ext xmlns:c16="http://schemas.microsoft.com/office/drawing/2014/chart" uri="{C3380CC4-5D6E-409C-BE32-E72D297353CC}">
              <c16:uniqueId val="{00000002-A349-46C7-A1F3-50A830D10066}"/>
            </c:ext>
          </c:extLst>
        </c:ser>
        <c:dLbls>
          <c:showLegendKey val="0"/>
          <c:showVal val="0"/>
          <c:showCatName val="0"/>
          <c:showSerName val="0"/>
          <c:showPercent val="0"/>
          <c:showBubbleSize val="0"/>
        </c:dLbls>
        <c:gapWidth val="150"/>
        <c:overlap val="100"/>
        <c:axId val="316726000"/>
        <c:axId val="316731040"/>
      </c:barChart>
      <c:lineChart>
        <c:grouping val="standard"/>
        <c:varyColors val="0"/>
        <c:ser>
          <c:idx val="1"/>
          <c:order val="1"/>
          <c:tx>
            <c:strRef>
              <c:f>Sheet1!$C$1</c:f>
              <c:strCache>
                <c:ptCount val="1"/>
                <c:pt idx="0">
                  <c:v>Series 12</c:v>
                </c:pt>
              </c:strCache>
            </c:strRef>
          </c:tx>
          <c:spPr>
            <a:ln w="28575">
              <a:solidFill>
                <a:srgbClr val="3366FF"/>
              </a:solidFill>
            </a:ln>
          </c:spPr>
          <c:marker>
            <c:symbol val="none"/>
          </c:marker>
          <c:cat>
            <c:numRef>
              <c:f>Sheet1!$A$2:$A$15</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cat>
          <c:val>
            <c:numRef>
              <c:f>Sheet1!$C$2:$C$15</c:f>
              <c:numCache>
                <c:formatCode>General</c:formatCode>
                <c:ptCount val="14"/>
                <c:pt idx="0">
                  <c:v>7</c:v>
                </c:pt>
                <c:pt idx="1">
                  <c:v>4.8999999999999995</c:v>
                </c:pt>
                <c:pt idx="2">
                  <c:v>3.4299999999999993</c:v>
                </c:pt>
                <c:pt idx="3">
                  <c:v>2.4009999999999994</c:v>
                </c:pt>
                <c:pt idx="4">
                  <c:v>1.6806999999999994</c:v>
                </c:pt>
                <c:pt idx="5">
                  <c:v>1.1764899999999996</c:v>
                </c:pt>
                <c:pt idx="6">
                  <c:v>0.82354299999999969</c:v>
                </c:pt>
                <c:pt idx="7">
                  <c:v>0.57648009999999972</c:v>
                </c:pt>
                <c:pt idx="8">
                  <c:v>0.4035360699999998</c:v>
                </c:pt>
                <c:pt idx="9">
                  <c:v>0.28247524899999982</c:v>
                </c:pt>
                <c:pt idx="10">
                  <c:v>0.19773267429999986</c:v>
                </c:pt>
                <c:pt idx="11">
                  <c:v>0.13841287200999988</c:v>
                </c:pt>
                <c:pt idx="12">
                  <c:v>9.6889010406999918E-2</c:v>
                </c:pt>
                <c:pt idx="13">
                  <c:v>6.7822307284899935E-2</c:v>
                </c:pt>
              </c:numCache>
            </c:numRef>
          </c:val>
          <c:smooth val="0"/>
          <c:extLst>
            <c:ext xmlns:c16="http://schemas.microsoft.com/office/drawing/2014/chart" uri="{C3380CC4-5D6E-409C-BE32-E72D297353CC}">
              <c16:uniqueId val="{00000003-A349-46C7-A1F3-50A830D10066}"/>
            </c:ext>
          </c:extLst>
        </c:ser>
        <c:dLbls>
          <c:showLegendKey val="0"/>
          <c:showVal val="0"/>
          <c:showCatName val="0"/>
          <c:showSerName val="0"/>
          <c:showPercent val="0"/>
          <c:showBubbleSize val="0"/>
        </c:dLbls>
        <c:marker val="1"/>
        <c:smooth val="0"/>
        <c:axId val="316726000"/>
        <c:axId val="316731040"/>
      </c:lineChart>
      <c:catAx>
        <c:axId val="316726000"/>
        <c:scaling>
          <c:orientation val="minMax"/>
        </c:scaling>
        <c:delete val="0"/>
        <c:axPos val="b"/>
        <c:title>
          <c:tx>
            <c:rich>
              <a:bodyPr/>
              <a:lstStyle/>
              <a:p>
                <a:pPr>
                  <a:defRPr sz="1000" b="0"/>
                </a:pPr>
                <a:r>
                  <a:rPr lang="en-US" sz="1000" b="0" dirty="0"/>
                  <a:t>Months</a:t>
                </a:r>
              </a:p>
            </c:rich>
          </c:tx>
          <c:layout>
            <c:manualLayout>
              <c:xMode val="edge"/>
              <c:yMode val="edge"/>
              <c:x val="0.47745646669489461"/>
              <c:y val="0.8887336053514211"/>
            </c:manualLayout>
          </c:layout>
          <c:overlay val="0"/>
        </c:title>
        <c:numFmt formatCode="General" sourceLinked="1"/>
        <c:majorTickMark val="out"/>
        <c:minorTickMark val="none"/>
        <c:tickLblPos val="nextTo"/>
        <c:txPr>
          <a:bodyPr/>
          <a:lstStyle/>
          <a:p>
            <a:pPr>
              <a:defRPr sz="1000"/>
            </a:pPr>
            <a:endParaRPr lang="en-US"/>
          </a:p>
        </c:txPr>
        <c:crossAx val="316731040"/>
        <c:crosses val="autoZero"/>
        <c:auto val="1"/>
        <c:lblAlgn val="ctr"/>
        <c:lblOffset val="100"/>
        <c:noMultiLvlLbl val="0"/>
      </c:catAx>
      <c:valAx>
        <c:axId val="316731040"/>
        <c:scaling>
          <c:orientation val="minMax"/>
        </c:scaling>
        <c:delete val="0"/>
        <c:axPos val="l"/>
        <c:numFmt formatCode="General" sourceLinked="1"/>
        <c:majorTickMark val="out"/>
        <c:minorTickMark val="none"/>
        <c:tickLblPos val="none"/>
        <c:txPr>
          <a:bodyPr/>
          <a:lstStyle/>
          <a:p>
            <a:pPr>
              <a:defRPr sz="900">
                <a:solidFill>
                  <a:schemeClr val="bg1"/>
                </a:solidFill>
              </a:defRPr>
            </a:pPr>
            <a:endParaRPr lang="en-US"/>
          </a:p>
        </c:txPr>
        <c:crossAx val="31672600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b="1" u="sng"/>
              <a:t>Response Curves</a:t>
            </a:r>
          </a:p>
        </c:rich>
      </c:tx>
      <c:overlay val="0"/>
      <c:spPr>
        <a:noFill/>
        <a:ln>
          <a:noFill/>
        </a:ln>
        <a:effectLst/>
      </c:spPr>
      <c:txPr>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5.4613464877154815E-2"/>
          <c:y val="0.10546510624838255"/>
          <c:w val="0.93027148873793797"/>
          <c:h val="0.74462248037496048"/>
        </c:manualLayout>
      </c:layout>
      <c:lineChart>
        <c:grouping val="standard"/>
        <c:varyColors val="0"/>
        <c:ser>
          <c:idx val="0"/>
          <c:order val="0"/>
          <c:tx>
            <c:strRef>
              <c:f>Transformation!$C$3</c:f>
              <c:strCache>
                <c:ptCount val="1"/>
                <c:pt idx="0">
                  <c:v>Linear </c:v>
                </c:pt>
              </c:strCache>
            </c:strRef>
          </c:tx>
          <c:spPr>
            <a:ln w="28575" cap="rnd">
              <a:solidFill>
                <a:schemeClr val="accent1"/>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C$4:$C$30</c:f>
              <c:numCache>
                <c:formatCode>#,##0</c:formatCode>
                <c:ptCount val="27"/>
                <c:pt idx="0">
                  <c:v>0</c:v>
                </c:pt>
                <c:pt idx="1">
                  <c:v>0.3</c:v>
                </c:pt>
                <c:pt idx="2">
                  <c:v>0.6</c:v>
                </c:pt>
                <c:pt idx="3">
                  <c:v>0.89999999999999991</c:v>
                </c:pt>
                <c:pt idx="4">
                  <c:v>1.2</c:v>
                </c:pt>
                <c:pt idx="5">
                  <c:v>1.5</c:v>
                </c:pt>
                <c:pt idx="6">
                  <c:v>1.7999999999999998</c:v>
                </c:pt>
                <c:pt idx="7">
                  <c:v>2.1</c:v>
                </c:pt>
                <c:pt idx="8">
                  <c:v>2.4</c:v>
                </c:pt>
                <c:pt idx="9">
                  <c:v>2.6999999999999997</c:v>
                </c:pt>
                <c:pt idx="10">
                  <c:v>3</c:v>
                </c:pt>
                <c:pt idx="11">
                  <c:v>3.3</c:v>
                </c:pt>
                <c:pt idx="12">
                  <c:v>3.5999999999999996</c:v>
                </c:pt>
                <c:pt idx="13">
                  <c:v>3.9</c:v>
                </c:pt>
                <c:pt idx="14">
                  <c:v>4.2</c:v>
                </c:pt>
                <c:pt idx="15">
                  <c:v>4.5</c:v>
                </c:pt>
                <c:pt idx="16">
                  <c:v>4.8</c:v>
                </c:pt>
                <c:pt idx="17">
                  <c:v>5.0999999999999996</c:v>
                </c:pt>
                <c:pt idx="18">
                  <c:v>5.3999999999999995</c:v>
                </c:pt>
                <c:pt idx="19">
                  <c:v>5.7</c:v>
                </c:pt>
                <c:pt idx="20">
                  <c:v>6</c:v>
                </c:pt>
                <c:pt idx="21">
                  <c:v>6.3</c:v>
                </c:pt>
                <c:pt idx="22">
                  <c:v>6.6</c:v>
                </c:pt>
                <c:pt idx="23">
                  <c:v>6.8999999999999995</c:v>
                </c:pt>
                <c:pt idx="24">
                  <c:v>7.1999999999999993</c:v>
                </c:pt>
                <c:pt idx="25">
                  <c:v>7.5</c:v>
                </c:pt>
                <c:pt idx="26">
                  <c:v>7.8</c:v>
                </c:pt>
              </c:numCache>
            </c:numRef>
          </c:val>
          <c:smooth val="0"/>
          <c:extLst>
            <c:ext xmlns:c16="http://schemas.microsoft.com/office/drawing/2014/chart" uri="{C3380CC4-5D6E-409C-BE32-E72D297353CC}">
              <c16:uniqueId val="{00000000-91F8-4064-846B-5558B3954A30}"/>
            </c:ext>
          </c:extLst>
        </c:ser>
        <c:dLbls>
          <c:showLegendKey val="0"/>
          <c:showVal val="0"/>
          <c:showCatName val="0"/>
          <c:showSerName val="0"/>
          <c:showPercent val="0"/>
          <c:showBubbleSize val="0"/>
        </c:dLbls>
        <c:smooth val="0"/>
        <c:axId val="1595749583"/>
        <c:axId val="1595757903"/>
        <c:extLst>
          <c:ext xmlns:c15="http://schemas.microsoft.com/office/drawing/2012/chart" uri="{02D57815-91ED-43cb-92C2-25804820EDAC}">
            <c15:filteredLineSeries>
              <c15:ser>
                <c:idx val="1"/>
                <c:order val="1"/>
                <c:tx>
                  <c:strRef>
                    <c:extLst>
                      <c:ext uri="{02D57815-91ED-43cb-92C2-25804820EDAC}">
                        <c15:formulaRef>
                          <c15:sqref>Transformation!$D$3</c15:sqref>
                        </c15:formulaRef>
                      </c:ext>
                    </c:extLst>
                    <c:strCache>
                      <c:ptCount val="1"/>
                      <c:pt idx="0">
                        <c:v>Log Curve</c:v>
                      </c:pt>
                    </c:strCache>
                  </c:strRef>
                </c:tx>
                <c:spPr>
                  <a:ln w="28575" cap="rnd">
                    <a:solidFill>
                      <a:schemeClr val="accent2"/>
                    </a:solidFill>
                    <a:round/>
                  </a:ln>
                  <a:effectLst/>
                </c:spPr>
                <c:marker>
                  <c:symbol val="none"/>
                </c:marker>
                <c:cat>
                  <c:numRef>
                    <c:extLst>
                      <c:ex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c:ext uri="{02D57815-91ED-43cb-92C2-25804820EDAC}">
                        <c15:formulaRef>
                          <c15:sqref>Transformation!$D$4:$D$30</c15:sqref>
                        </c15:formulaRef>
                      </c:ext>
                    </c:extLst>
                    <c:numCache>
                      <c:formatCode>#,##0</c:formatCode>
                      <c:ptCount val="27"/>
                      <c:pt idx="0">
                        <c:v>0</c:v>
                      </c:pt>
                      <c:pt idx="1">
                        <c:v>0.69314718055994529</c:v>
                      </c:pt>
                      <c:pt idx="2">
                        <c:v>1.0986122886681098</c:v>
                      </c:pt>
                      <c:pt idx="3">
                        <c:v>1.3862943611198906</c:v>
                      </c:pt>
                      <c:pt idx="4">
                        <c:v>1.6094379124341003</c:v>
                      </c:pt>
                      <c:pt idx="5">
                        <c:v>1.791759469228055</c:v>
                      </c:pt>
                      <c:pt idx="6">
                        <c:v>1.9459101490553132</c:v>
                      </c:pt>
                      <c:pt idx="7">
                        <c:v>2.0794415416798357</c:v>
                      </c:pt>
                      <c:pt idx="8">
                        <c:v>2.1972245773362196</c:v>
                      </c:pt>
                      <c:pt idx="9">
                        <c:v>2.3025850929940459</c:v>
                      </c:pt>
                      <c:pt idx="10">
                        <c:v>2.3978952727983707</c:v>
                      </c:pt>
                      <c:pt idx="11">
                        <c:v>2.4849066497880004</c:v>
                      </c:pt>
                      <c:pt idx="12">
                        <c:v>2.5649493574615367</c:v>
                      </c:pt>
                      <c:pt idx="13">
                        <c:v>2.6390573296152584</c:v>
                      </c:pt>
                      <c:pt idx="14">
                        <c:v>2.7080502011022101</c:v>
                      </c:pt>
                      <c:pt idx="15">
                        <c:v>2.7725887222397811</c:v>
                      </c:pt>
                      <c:pt idx="16">
                        <c:v>2.8332133440562162</c:v>
                      </c:pt>
                      <c:pt idx="17">
                        <c:v>2.8903717578961645</c:v>
                      </c:pt>
                      <c:pt idx="18">
                        <c:v>2.9444389791664403</c:v>
                      </c:pt>
                      <c:pt idx="19">
                        <c:v>2.9957322735539909</c:v>
                      </c:pt>
                      <c:pt idx="20">
                        <c:v>3.044522437723423</c:v>
                      </c:pt>
                      <c:pt idx="21">
                        <c:v>3.0910424533583161</c:v>
                      </c:pt>
                      <c:pt idx="22">
                        <c:v>3.1354942159291497</c:v>
                      </c:pt>
                      <c:pt idx="23">
                        <c:v>3.1780538303479458</c:v>
                      </c:pt>
                      <c:pt idx="24">
                        <c:v>3.2188758248682006</c:v>
                      </c:pt>
                      <c:pt idx="25">
                        <c:v>3.2580965380214821</c:v>
                      </c:pt>
                      <c:pt idx="26">
                        <c:v>3.2958368660043291</c:v>
                      </c:pt>
                    </c:numCache>
                  </c:numRef>
                </c:val>
                <c:smooth val="0"/>
                <c:extLst>
                  <c:ext xmlns:c16="http://schemas.microsoft.com/office/drawing/2014/chart" uri="{C3380CC4-5D6E-409C-BE32-E72D297353CC}">
                    <c16:uniqueId val="{00000001-91F8-4064-846B-5558B3954A30}"/>
                  </c:ext>
                </c:extLst>
              </c15:ser>
            </c15:filteredLineSeries>
            <c15:filteredLineSeries>
              <c15:ser>
                <c:idx val="3"/>
                <c:order val="2"/>
                <c:tx>
                  <c:strRef>
                    <c:extLst xmlns:c15="http://schemas.microsoft.com/office/drawing/2012/chart">
                      <c:ext xmlns:c15="http://schemas.microsoft.com/office/drawing/2012/chart" uri="{02D57815-91ED-43cb-92C2-25804820EDAC}">
                        <c15:formulaRef>
                          <c15:sqref>Transformation!$E$3</c15:sqref>
                        </c15:formulaRef>
                      </c:ext>
                    </c:extLst>
                    <c:strCache>
                      <c:ptCount val="1"/>
                      <c:pt idx="0">
                        <c:v>Negative Exponential </c:v>
                      </c:pt>
                    </c:strCache>
                  </c:strRef>
                </c:tx>
                <c:spPr>
                  <a:ln w="28575"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E$4:$E$30</c15:sqref>
                        </c15:formulaRef>
                      </c:ext>
                    </c:extLst>
                    <c:numCache>
                      <c:formatCode>#,##0</c:formatCode>
                      <c:ptCount val="27"/>
                      <c:pt idx="0">
                        <c:v>0</c:v>
                      </c:pt>
                      <c:pt idx="1">
                        <c:v>9.5162581964040482E-2</c:v>
                      </c:pt>
                      <c:pt idx="2">
                        <c:v>0.18126924692201818</c:v>
                      </c:pt>
                      <c:pt idx="3">
                        <c:v>0.25918177931828212</c:v>
                      </c:pt>
                      <c:pt idx="4">
                        <c:v>0.32967995396436067</c:v>
                      </c:pt>
                      <c:pt idx="5">
                        <c:v>0.39346934028736658</c:v>
                      </c:pt>
                      <c:pt idx="6">
                        <c:v>0.45118836390597361</c:v>
                      </c:pt>
                      <c:pt idx="7">
                        <c:v>0.50341469620859058</c:v>
                      </c:pt>
                      <c:pt idx="8">
                        <c:v>0.55067103588277844</c:v>
                      </c:pt>
                      <c:pt idx="9">
                        <c:v>0.59343034025940089</c:v>
                      </c:pt>
                      <c:pt idx="10">
                        <c:v>0.63212055882855767</c:v>
                      </c:pt>
                      <c:pt idx="11">
                        <c:v>0.6671289163019205</c:v>
                      </c:pt>
                      <c:pt idx="12">
                        <c:v>0.69880578808779803</c:v>
                      </c:pt>
                      <c:pt idx="13">
                        <c:v>0.72746820696598746</c:v>
                      </c:pt>
                      <c:pt idx="14">
                        <c:v>0.75340303605839354</c:v>
                      </c:pt>
                      <c:pt idx="15">
                        <c:v>0.77686983985157021</c:v>
                      </c:pt>
                      <c:pt idx="16">
                        <c:v>0.79810348200534464</c:v>
                      </c:pt>
                      <c:pt idx="17">
                        <c:v>0.81731647594726542</c:v>
                      </c:pt>
                      <c:pt idx="18">
                        <c:v>0.83470111177841344</c:v>
                      </c:pt>
                      <c:pt idx="19">
                        <c:v>0.85043138077736491</c:v>
                      </c:pt>
                      <c:pt idx="20">
                        <c:v>0.8646647167633873</c:v>
                      </c:pt>
                      <c:pt idx="21">
                        <c:v>0.87754357174701814</c:v>
                      </c:pt>
                      <c:pt idx="22">
                        <c:v>0.8891968416376661</c:v>
                      </c:pt>
                      <c:pt idx="23">
                        <c:v>0.89974115627719631</c:v>
                      </c:pt>
                      <c:pt idx="24">
                        <c:v>0.90928204671058754</c:v>
                      </c:pt>
                      <c:pt idx="25">
                        <c:v>0.91791500137610116</c:v>
                      </c:pt>
                      <c:pt idx="26">
                        <c:v>0.92572642178566611</c:v>
                      </c:pt>
                    </c:numCache>
                  </c:numRef>
                </c:val>
                <c:smooth val="0"/>
                <c:extLst xmlns:c15="http://schemas.microsoft.com/office/drawing/2012/chart">
                  <c:ext xmlns:c16="http://schemas.microsoft.com/office/drawing/2014/chart" uri="{C3380CC4-5D6E-409C-BE32-E72D297353CC}">
                    <c16:uniqueId val="{00000002-91F8-4064-846B-5558B3954A30}"/>
                  </c:ext>
                </c:extLst>
              </c15:ser>
            </c15:filteredLineSeries>
            <c15:filteredLineSeries>
              <c15:ser>
                <c:idx val="4"/>
                <c:order val="3"/>
                <c:tx>
                  <c:strRef>
                    <c:extLst xmlns:c15="http://schemas.microsoft.com/office/drawing/2012/chart">
                      <c:ext xmlns:c15="http://schemas.microsoft.com/office/drawing/2012/chart" uri="{02D57815-91ED-43cb-92C2-25804820EDAC}">
                        <c15:formulaRef>
                          <c15:sqref>Transformation!$F$3</c15:sqref>
                        </c15:formulaRef>
                      </c:ext>
                    </c:extLst>
                    <c:strCache>
                      <c:ptCount val="1"/>
                      <c:pt idx="0">
                        <c:v>S Curve </c:v>
                      </c:pt>
                    </c:strCache>
                  </c:strRef>
                </c:tx>
                <c:spPr>
                  <a:ln w="28575"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F$4:$F$30</c15:sqref>
                        </c15:formulaRef>
                      </c:ext>
                    </c:extLst>
                    <c:numCache>
                      <c:formatCode>#,##0</c:formatCode>
                      <c:ptCount val="27"/>
                      <c:pt idx="0">
                        <c:v>0</c:v>
                      </c:pt>
                      <c:pt idx="1">
                        <c:v>1.8</c:v>
                      </c:pt>
                      <c:pt idx="2">
                        <c:v>2.0699999999999998</c:v>
                      </c:pt>
                      <c:pt idx="3">
                        <c:v>2.31</c:v>
                      </c:pt>
                      <c:pt idx="4">
                        <c:v>2.5</c:v>
                      </c:pt>
                      <c:pt idx="5">
                        <c:v>2.64</c:v>
                      </c:pt>
                      <c:pt idx="6">
                        <c:v>2.75</c:v>
                      </c:pt>
                      <c:pt idx="7">
                        <c:v>2.83</c:v>
                      </c:pt>
                      <c:pt idx="8">
                        <c:v>2.88</c:v>
                      </c:pt>
                      <c:pt idx="9">
                        <c:v>2.92</c:v>
                      </c:pt>
                      <c:pt idx="10">
                        <c:v>2.95</c:v>
                      </c:pt>
                      <c:pt idx="11">
                        <c:v>2.96</c:v>
                      </c:pt>
                      <c:pt idx="12">
                        <c:v>2.98</c:v>
                      </c:pt>
                      <c:pt idx="13">
                        <c:v>2.98</c:v>
                      </c:pt>
                      <c:pt idx="14">
                        <c:v>2.99</c:v>
                      </c:pt>
                      <c:pt idx="15">
                        <c:v>2.99</c:v>
                      </c:pt>
                      <c:pt idx="16">
                        <c:v>3</c:v>
                      </c:pt>
                      <c:pt idx="17">
                        <c:v>3</c:v>
                      </c:pt>
                      <c:pt idx="18">
                        <c:v>3</c:v>
                      </c:pt>
                      <c:pt idx="19">
                        <c:v>3</c:v>
                      </c:pt>
                      <c:pt idx="20">
                        <c:v>3</c:v>
                      </c:pt>
                      <c:pt idx="21">
                        <c:v>3</c:v>
                      </c:pt>
                      <c:pt idx="22">
                        <c:v>3</c:v>
                      </c:pt>
                      <c:pt idx="23">
                        <c:v>3</c:v>
                      </c:pt>
                      <c:pt idx="24">
                        <c:v>3</c:v>
                      </c:pt>
                      <c:pt idx="25">
                        <c:v>3</c:v>
                      </c:pt>
                      <c:pt idx="26">
                        <c:v>3</c:v>
                      </c:pt>
                    </c:numCache>
                  </c:numRef>
                </c:val>
                <c:smooth val="0"/>
                <c:extLst xmlns:c15="http://schemas.microsoft.com/office/drawing/2012/chart">
                  <c:ext xmlns:c16="http://schemas.microsoft.com/office/drawing/2014/chart" uri="{C3380CC4-5D6E-409C-BE32-E72D297353CC}">
                    <c16:uniqueId val="{00000003-91F8-4064-846B-5558B3954A30}"/>
                  </c:ext>
                </c:extLst>
              </c15:ser>
            </c15:filteredLineSeries>
            <c15:filteredLineSeries>
              <c15:ser>
                <c:idx val="2"/>
                <c:order val="4"/>
                <c:tx>
                  <c:strRef>
                    <c:extLst xmlns:c15="http://schemas.microsoft.com/office/drawing/2012/chart">
                      <c:ext xmlns:c15="http://schemas.microsoft.com/office/drawing/2012/chart" uri="{02D57815-91ED-43cb-92C2-25804820EDAC}">
                        <c15:formulaRef>
                          <c15:sqref>Transformation!$H$3</c15:sqref>
                        </c15:formulaRef>
                      </c:ext>
                    </c:extLst>
                    <c:strCache>
                      <c:ptCount val="1"/>
                      <c:pt idx="0">
                        <c:v>Polynomial degree 2</c:v>
                      </c:pt>
                    </c:strCache>
                  </c:strRef>
                </c:tx>
                <c:spPr>
                  <a:ln w="28575"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H$4:$H$30</c15:sqref>
                        </c15:formulaRef>
                      </c:ext>
                    </c:extLst>
                    <c:numCache>
                      <c:formatCode>#,##0</c:formatCode>
                      <c:ptCount val="27"/>
                      <c:pt idx="0">
                        <c:v>0</c:v>
                      </c:pt>
                      <c:pt idx="1">
                        <c:v>1.1645000000000001</c:v>
                      </c:pt>
                      <c:pt idx="2">
                        <c:v>1.3440000000000001</c:v>
                      </c:pt>
                      <c:pt idx="3">
                        <c:v>1.5385</c:v>
                      </c:pt>
                      <c:pt idx="4">
                        <c:v>1.7480000000000002</c:v>
                      </c:pt>
                      <c:pt idx="5">
                        <c:v>1.9725000000000001</c:v>
                      </c:pt>
                      <c:pt idx="6">
                        <c:v>2.2119999999999997</c:v>
                      </c:pt>
                      <c:pt idx="7">
                        <c:v>2.4665000000000004</c:v>
                      </c:pt>
                      <c:pt idx="8">
                        <c:v>2.7360000000000002</c:v>
                      </c:pt>
                      <c:pt idx="9">
                        <c:v>3.0205000000000002</c:v>
                      </c:pt>
                      <c:pt idx="10">
                        <c:v>3.3200000000000003</c:v>
                      </c:pt>
                      <c:pt idx="11">
                        <c:v>3.6345000000000001</c:v>
                      </c:pt>
                      <c:pt idx="12">
                        <c:v>3.964</c:v>
                      </c:pt>
                      <c:pt idx="13">
                        <c:v>4.3084999999999996</c:v>
                      </c:pt>
                      <c:pt idx="14">
                        <c:v>4.6680000000000001</c:v>
                      </c:pt>
                      <c:pt idx="15">
                        <c:v>5.0425000000000004</c:v>
                      </c:pt>
                      <c:pt idx="16">
                        <c:v>5.4320000000000004</c:v>
                      </c:pt>
                      <c:pt idx="17">
                        <c:v>5.8365</c:v>
                      </c:pt>
                      <c:pt idx="18">
                        <c:v>6.2560000000000002</c:v>
                      </c:pt>
                      <c:pt idx="19">
                        <c:v>6.6905000000000001</c:v>
                      </c:pt>
                      <c:pt idx="20">
                        <c:v>7.1400000000000006</c:v>
                      </c:pt>
                      <c:pt idx="21">
                        <c:v>7.6044999999999998</c:v>
                      </c:pt>
                      <c:pt idx="22">
                        <c:v>8.0839999999999996</c:v>
                      </c:pt>
                      <c:pt idx="23">
                        <c:v>8.5785</c:v>
                      </c:pt>
                      <c:pt idx="24">
                        <c:v>9.088000000000001</c:v>
                      </c:pt>
                      <c:pt idx="25">
                        <c:v>9.6125000000000007</c:v>
                      </c:pt>
                      <c:pt idx="26">
                        <c:v>10.151999999999999</c:v>
                      </c:pt>
                    </c:numCache>
                  </c:numRef>
                </c:val>
                <c:smooth val="0"/>
                <c:extLst xmlns:c15="http://schemas.microsoft.com/office/drawing/2012/chart">
                  <c:ext xmlns:c16="http://schemas.microsoft.com/office/drawing/2014/chart" uri="{C3380CC4-5D6E-409C-BE32-E72D297353CC}">
                    <c16:uniqueId val="{00000004-91F8-4064-846B-5558B3954A30}"/>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Transformation!$I$3</c15:sqref>
                        </c15:formulaRef>
                      </c:ext>
                    </c:extLst>
                    <c:strCache>
                      <c:ptCount val="1"/>
                      <c:pt idx="0">
                        <c:v>Polynomial degree 3</c:v>
                      </c:pt>
                    </c:strCache>
                  </c:strRef>
                </c:tx>
                <c:spPr>
                  <a:ln w="28575"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I$4:$I$30</c15:sqref>
                        </c15:formulaRef>
                      </c:ext>
                    </c:extLst>
                    <c:numCache>
                      <c:formatCode>#,##0</c:formatCode>
                      <c:ptCount val="27"/>
                      <c:pt idx="0">
                        <c:v>0</c:v>
                      </c:pt>
                      <c:pt idx="1">
                        <c:v>1.1655</c:v>
                      </c:pt>
                      <c:pt idx="2">
                        <c:v>1.3520000000000001</c:v>
                      </c:pt>
                      <c:pt idx="3">
                        <c:v>1.5654999999999999</c:v>
                      </c:pt>
                      <c:pt idx="4">
                        <c:v>1.8120000000000003</c:v>
                      </c:pt>
                      <c:pt idx="5">
                        <c:v>2.0975000000000001</c:v>
                      </c:pt>
                      <c:pt idx="6">
                        <c:v>2.4279999999999999</c:v>
                      </c:pt>
                      <c:pt idx="7">
                        <c:v>2.8095000000000003</c:v>
                      </c:pt>
                      <c:pt idx="8">
                        <c:v>3.2480000000000002</c:v>
                      </c:pt>
                      <c:pt idx="9">
                        <c:v>3.7495000000000003</c:v>
                      </c:pt>
                      <c:pt idx="10">
                        <c:v>4.32</c:v>
                      </c:pt>
                      <c:pt idx="11">
                        <c:v>4.9655000000000005</c:v>
                      </c:pt>
                      <c:pt idx="12">
                        <c:v>5.6920000000000002</c:v>
                      </c:pt>
                      <c:pt idx="13">
                        <c:v>6.5054999999999996</c:v>
                      </c:pt>
                      <c:pt idx="14">
                        <c:v>7.4120000000000008</c:v>
                      </c:pt>
                      <c:pt idx="15">
                        <c:v>8.4175000000000004</c:v>
                      </c:pt>
                      <c:pt idx="16">
                        <c:v>9.5280000000000005</c:v>
                      </c:pt>
                      <c:pt idx="17">
                        <c:v>10.749500000000001</c:v>
                      </c:pt>
                      <c:pt idx="18">
                        <c:v>12.088000000000001</c:v>
                      </c:pt>
                      <c:pt idx="19">
                        <c:v>13.5495</c:v>
                      </c:pt>
                      <c:pt idx="20">
                        <c:v>15.14</c:v>
                      </c:pt>
                      <c:pt idx="21">
                        <c:v>16.865500000000001</c:v>
                      </c:pt>
                      <c:pt idx="22">
                        <c:v>18.731999999999999</c:v>
                      </c:pt>
                      <c:pt idx="23">
                        <c:v>20.7455</c:v>
                      </c:pt>
                      <c:pt idx="24">
                        <c:v>22.911999999999999</c:v>
                      </c:pt>
                      <c:pt idx="25">
                        <c:v>25.237500000000001</c:v>
                      </c:pt>
                      <c:pt idx="26">
                        <c:v>27.728000000000002</c:v>
                      </c:pt>
                    </c:numCache>
                  </c:numRef>
                </c:val>
                <c:smooth val="0"/>
                <c:extLst xmlns:c15="http://schemas.microsoft.com/office/drawing/2012/chart">
                  <c:ext xmlns:c16="http://schemas.microsoft.com/office/drawing/2014/chart" uri="{C3380CC4-5D6E-409C-BE32-E72D297353CC}">
                    <c16:uniqueId val="{00000005-91F8-4064-846B-5558B3954A30}"/>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Transformation!$J$3</c15:sqref>
                        </c15:formulaRef>
                      </c:ext>
                    </c:extLst>
                    <c:strCache>
                      <c:ptCount val="1"/>
                      <c:pt idx="0">
                        <c:v>Square Root </c:v>
                      </c:pt>
                    </c:strCache>
                  </c:strRef>
                </c:tx>
                <c:spPr>
                  <a:ln w="28575" cap="rnd">
                    <a:solidFill>
                      <a:schemeClr val="accent1">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J$4:$J$30</c15:sqref>
                        </c15:formulaRef>
                      </c:ext>
                    </c:extLst>
                    <c:numCache>
                      <c:formatCode>#,##0</c:formatCode>
                      <c:ptCount val="27"/>
                      <c:pt idx="0">
                        <c:v>0</c:v>
                      </c:pt>
                      <c:pt idx="1">
                        <c:v>1</c:v>
                      </c:pt>
                      <c:pt idx="2">
                        <c:v>1.4142135623730951</c:v>
                      </c:pt>
                      <c:pt idx="3">
                        <c:v>1.7320508075688772</c:v>
                      </c:pt>
                      <c:pt idx="4">
                        <c:v>2</c:v>
                      </c:pt>
                      <c:pt idx="5">
                        <c:v>2.2360679774997898</c:v>
                      </c:pt>
                      <c:pt idx="6">
                        <c:v>2.4494897427831779</c:v>
                      </c:pt>
                      <c:pt idx="7">
                        <c:v>2.6457513110645907</c:v>
                      </c:pt>
                      <c:pt idx="8">
                        <c:v>2.8284271247461903</c:v>
                      </c:pt>
                      <c:pt idx="9">
                        <c:v>3</c:v>
                      </c:pt>
                      <c:pt idx="10">
                        <c:v>3.1622776601683795</c:v>
                      </c:pt>
                      <c:pt idx="11">
                        <c:v>3.3166247903553998</c:v>
                      </c:pt>
                      <c:pt idx="12">
                        <c:v>3.4641016151377544</c:v>
                      </c:pt>
                      <c:pt idx="13">
                        <c:v>3.6055512754639891</c:v>
                      </c:pt>
                      <c:pt idx="14">
                        <c:v>3.7416573867739413</c:v>
                      </c:pt>
                      <c:pt idx="15">
                        <c:v>3.872983346207417</c:v>
                      </c:pt>
                      <c:pt idx="16">
                        <c:v>4</c:v>
                      </c:pt>
                      <c:pt idx="17">
                        <c:v>4.1231056256176606</c:v>
                      </c:pt>
                      <c:pt idx="18">
                        <c:v>4.2426406871192848</c:v>
                      </c:pt>
                      <c:pt idx="19">
                        <c:v>4.358898943540674</c:v>
                      </c:pt>
                      <c:pt idx="20">
                        <c:v>4.4721359549995796</c:v>
                      </c:pt>
                      <c:pt idx="21">
                        <c:v>4.5825756949558398</c:v>
                      </c:pt>
                      <c:pt idx="22">
                        <c:v>4.6904157598234297</c:v>
                      </c:pt>
                      <c:pt idx="23">
                        <c:v>4.7958315233127191</c:v>
                      </c:pt>
                      <c:pt idx="24">
                        <c:v>4.8989794855663558</c:v>
                      </c:pt>
                      <c:pt idx="25">
                        <c:v>5</c:v>
                      </c:pt>
                      <c:pt idx="26">
                        <c:v>5.0990195135927845</c:v>
                      </c:pt>
                    </c:numCache>
                  </c:numRef>
                </c:val>
                <c:smooth val="0"/>
                <c:extLst xmlns:c15="http://schemas.microsoft.com/office/drawing/2012/chart">
                  <c:ext xmlns:c16="http://schemas.microsoft.com/office/drawing/2014/chart" uri="{C3380CC4-5D6E-409C-BE32-E72D297353CC}">
                    <c16:uniqueId val="{00000006-91F8-4064-846B-5558B3954A30}"/>
                  </c:ext>
                </c:extLst>
              </c15:ser>
            </c15:filteredLineSeries>
          </c:ext>
        </c:extLst>
      </c:lineChart>
      <c:catAx>
        <c:axId val="159574958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Promo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57903"/>
        <c:crosses val="autoZero"/>
        <c:auto val="1"/>
        <c:lblAlgn val="ctr"/>
        <c:lblOffset val="100"/>
        <c:noMultiLvlLbl val="0"/>
      </c:catAx>
      <c:valAx>
        <c:axId val="15957579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Impac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49583"/>
        <c:crosses val="autoZero"/>
        <c:crossBetween val="between"/>
      </c:valAx>
      <c:spPr>
        <a:noFill/>
        <a:ln>
          <a:noFill/>
        </a:ln>
        <a:effectLst/>
      </c:spPr>
    </c:plotArea>
    <c:legend>
      <c:legendPos val="b"/>
      <c:layout>
        <c:manualLayout>
          <c:xMode val="edge"/>
          <c:yMode val="edge"/>
          <c:x val="7.198974681545213E-2"/>
          <c:y val="4.2145197706445016E-2"/>
          <c:w val="0.2849817032758627"/>
          <c:h val="0.20827908762248867"/>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b="1" u="sng"/>
              <a:t>Response Curves</a:t>
            </a:r>
          </a:p>
        </c:rich>
      </c:tx>
      <c:overlay val="0"/>
      <c:spPr>
        <a:noFill/>
        <a:ln>
          <a:noFill/>
        </a:ln>
        <a:effectLst/>
      </c:spPr>
      <c:txPr>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5.4613464877154815E-2"/>
          <c:y val="0.10546510624838255"/>
          <c:w val="0.93027148873793797"/>
          <c:h val="0.74462248037496048"/>
        </c:manualLayout>
      </c:layout>
      <c:lineChart>
        <c:grouping val="standard"/>
        <c:varyColors val="0"/>
        <c:ser>
          <c:idx val="1"/>
          <c:order val="1"/>
          <c:tx>
            <c:strRef>
              <c:f>Transformation!$D$3</c:f>
              <c:strCache>
                <c:ptCount val="1"/>
                <c:pt idx="0">
                  <c:v>Log Curve</c:v>
                </c:pt>
              </c:strCache>
            </c:strRef>
          </c:tx>
          <c:spPr>
            <a:ln w="28575" cap="rnd">
              <a:solidFill>
                <a:schemeClr val="accent2"/>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D$4:$D$30</c:f>
              <c:numCache>
                <c:formatCode>#,##0</c:formatCode>
                <c:ptCount val="27"/>
                <c:pt idx="0">
                  <c:v>0</c:v>
                </c:pt>
                <c:pt idx="1">
                  <c:v>0.69314718055994529</c:v>
                </c:pt>
                <c:pt idx="2">
                  <c:v>1.0986122886681098</c:v>
                </c:pt>
                <c:pt idx="3">
                  <c:v>1.3862943611198906</c:v>
                </c:pt>
                <c:pt idx="4">
                  <c:v>1.6094379124341003</c:v>
                </c:pt>
                <c:pt idx="5">
                  <c:v>1.791759469228055</c:v>
                </c:pt>
                <c:pt idx="6">
                  <c:v>1.9459101490553132</c:v>
                </c:pt>
                <c:pt idx="7">
                  <c:v>2.0794415416798357</c:v>
                </c:pt>
                <c:pt idx="8">
                  <c:v>2.1972245773362196</c:v>
                </c:pt>
                <c:pt idx="9">
                  <c:v>2.3025850929940459</c:v>
                </c:pt>
                <c:pt idx="10">
                  <c:v>2.3978952727983707</c:v>
                </c:pt>
                <c:pt idx="11">
                  <c:v>2.4849066497880004</c:v>
                </c:pt>
                <c:pt idx="12">
                  <c:v>2.5649493574615367</c:v>
                </c:pt>
                <c:pt idx="13">
                  <c:v>2.6390573296152584</c:v>
                </c:pt>
                <c:pt idx="14">
                  <c:v>2.7080502011022101</c:v>
                </c:pt>
                <c:pt idx="15">
                  <c:v>2.7725887222397811</c:v>
                </c:pt>
                <c:pt idx="16">
                  <c:v>2.8332133440562162</c:v>
                </c:pt>
                <c:pt idx="17">
                  <c:v>2.8903717578961645</c:v>
                </c:pt>
                <c:pt idx="18">
                  <c:v>2.9444389791664403</c:v>
                </c:pt>
                <c:pt idx="19">
                  <c:v>2.9957322735539909</c:v>
                </c:pt>
                <c:pt idx="20">
                  <c:v>3.044522437723423</c:v>
                </c:pt>
                <c:pt idx="21">
                  <c:v>3.0910424533583161</c:v>
                </c:pt>
                <c:pt idx="22">
                  <c:v>3.1354942159291497</c:v>
                </c:pt>
                <c:pt idx="23">
                  <c:v>3.1780538303479458</c:v>
                </c:pt>
                <c:pt idx="24">
                  <c:v>3.2188758248682006</c:v>
                </c:pt>
                <c:pt idx="25">
                  <c:v>3.2580965380214821</c:v>
                </c:pt>
                <c:pt idx="26">
                  <c:v>3.2958368660043291</c:v>
                </c:pt>
              </c:numCache>
            </c:numRef>
          </c:val>
          <c:smooth val="0"/>
          <c:extLst>
            <c:ext xmlns:c16="http://schemas.microsoft.com/office/drawing/2014/chart" uri="{C3380CC4-5D6E-409C-BE32-E72D297353CC}">
              <c16:uniqueId val="{00000001-91F8-4064-846B-5558B3954A30}"/>
            </c:ext>
          </c:extLst>
        </c:ser>
        <c:ser>
          <c:idx val="3"/>
          <c:order val="2"/>
          <c:tx>
            <c:strRef>
              <c:f>Transformation!$E$3</c:f>
              <c:strCache>
                <c:ptCount val="1"/>
                <c:pt idx="0">
                  <c:v>Negative Exponential </c:v>
                </c:pt>
              </c:strCache>
            </c:strRef>
          </c:tx>
          <c:spPr>
            <a:ln w="28575" cap="rnd">
              <a:solidFill>
                <a:schemeClr val="accent4"/>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E$4:$E$30</c:f>
              <c:numCache>
                <c:formatCode>#,##0</c:formatCode>
                <c:ptCount val="27"/>
                <c:pt idx="0">
                  <c:v>0</c:v>
                </c:pt>
                <c:pt idx="1">
                  <c:v>9.5162581964040482E-2</c:v>
                </c:pt>
                <c:pt idx="2">
                  <c:v>0.18126924692201818</c:v>
                </c:pt>
                <c:pt idx="3">
                  <c:v>0.25918177931828212</c:v>
                </c:pt>
                <c:pt idx="4">
                  <c:v>0.32967995396436067</c:v>
                </c:pt>
                <c:pt idx="5">
                  <c:v>0.39346934028736658</c:v>
                </c:pt>
                <c:pt idx="6">
                  <c:v>0.45118836390597361</c:v>
                </c:pt>
                <c:pt idx="7">
                  <c:v>0.50341469620859058</c:v>
                </c:pt>
                <c:pt idx="8">
                  <c:v>0.55067103588277844</c:v>
                </c:pt>
                <c:pt idx="9">
                  <c:v>0.59343034025940089</c:v>
                </c:pt>
                <c:pt idx="10">
                  <c:v>0.63212055882855767</c:v>
                </c:pt>
                <c:pt idx="11">
                  <c:v>0.6671289163019205</c:v>
                </c:pt>
                <c:pt idx="12">
                  <c:v>0.69880578808779803</c:v>
                </c:pt>
                <c:pt idx="13">
                  <c:v>0.72746820696598746</c:v>
                </c:pt>
                <c:pt idx="14">
                  <c:v>0.75340303605839354</c:v>
                </c:pt>
                <c:pt idx="15">
                  <c:v>0.77686983985157021</c:v>
                </c:pt>
                <c:pt idx="16">
                  <c:v>0.79810348200534464</c:v>
                </c:pt>
                <c:pt idx="17">
                  <c:v>0.81731647594726542</c:v>
                </c:pt>
                <c:pt idx="18">
                  <c:v>0.83470111177841344</c:v>
                </c:pt>
                <c:pt idx="19">
                  <c:v>0.85043138077736491</c:v>
                </c:pt>
                <c:pt idx="20">
                  <c:v>0.8646647167633873</c:v>
                </c:pt>
                <c:pt idx="21">
                  <c:v>0.87754357174701814</c:v>
                </c:pt>
                <c:pt idx="22">
                  <c:v>0.8891968416376661</c:v>
                </c:pt>
                <c:pt idx="23">
                  <c:v>0.89974115627719631</c:v>
                </c:pt>
                <c:pt idx="24">
                  <c:v>0.90928204671058754</c:v>
                </c:pt>
                <c:pt idx="25">
                  <c:v>0.91791500137610116</c:v>
                </c:pt>
                <c:pt idx="26">
                  <c:v>0.92572642178566611</c:v>
                </c:pt>
              </c:numCache>
            </c:numRef>
          </c:val>
          <c:smooth val="0"/>
          <c:extLst>
            <c:ext xmlns:c16="http://schemas.microsoft.com/office/drawing/2014/chart" uri="{C3380CC4-5D6E-409C-BE32-E72D297353CC}">
              <c16:uniqueId val="{00000002-91F8-4064-846B-5558B3954A30}"/>
            </c:ext>
          </c:extLst>
        </c:ser>
        <c:ser>
          <c:idx val="4"/>
          <c:order val="3"/>
          <c:tx>
            <c:strRef>
              <c:f>Transformation!$F$3</c:f>
              <c:strCache>
                <c:ptCount val="1"/>
                <c:pt idx="0">
                  <c:v>S Curve </c:v>
                </c:pt>
              </c:strCache>
            </c:strRef>
          </c:tx>
          <c:spPr>
            <a:ln w="28575" cap="rnd">
              <a:solidFill>
                <a:schemeClr val="accent5"/>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F$4:$F$30</c:f>
              <c:numCache>
                <c:formatCode>#,##0</c:formatCode>
                <c:ptCount val="27"/>
                <c:pt idx="0">
                  <c:v>0</c:v>
                </c:pt>
                <c:pt idx="1">
                  <c:v>1.8</c:v>
                </c:pt>
                <c:pt idx="2">
                  <c:v>2.0699999999999998</c:v>
                </c:pt>
                <c:pt idx="3">
                  <c:v>2.31</c:v>
                </c:pt>
                <c:pt idx="4">
                  <c:v>2.5</c:v>
                </c:pt>
                <c:pt idx="5">
                  <c:v>2.64</c:v>
                </c:pt>
                <c:pt idx="6">
                  <c:v>2.75</c:v>
                </c:pt>
                <c:pt idx="7">
                  <c:v>2.83</c:v>
                </c:pt>
                <c:pt idx="8">
                  <c:v>2.88</c:v>
                </c:pt>
                <c:pt idx="9">
                  <c:v>2.92</c:v>
                </c:pt>
                <c:pt idx="10">
                  <c:v>2.95</c:v>
                </c:pt>
                <c:pt idx="11">
                  <c:v>2.96</c:v>
                </c:pt>
                <c:pt idx="12">
                  <c:v>2.98</c:v>
                </c:pt>
                <c:pt idx="13">
                  <c:v>2.98</c:v>
                </c:pt>
                <c:pt idx="14">
                  <c:v>2.99</c:v>
                </c:pt>
                <c:pt idx="15">
                  <c:v>2.99</c:v>
                </c:pt>
                <c:pt idx="16">
                  <c:v>3</c:v>
                </c:pt>
                <c:pt idx="17">
                  <c:v>3</c:v>
                </c:pt>
                <c:pt idx="18">
                  <c:v>3</c:v>
                </c:pt>
                <c:pt idx="19">
                  <c:v>3</c:v>
                </c:pt>
                <c:pt idx="20">
                  <c:v>3</c:v>
                </c:pt>
                <c:pt idx="21">
                  <c:v>3</c:v>
                </c:pt>
                <c:pt idx="22">
                  <c:v>3</c:v>
                </c:pt>
                <c:pt idx="23">
                  <c:v>3</c:v>
                </c:pt>
                <c:pt idx="24">
                  <c:v>3</c:v>
                </c:pt>
                <c:pt idx="25">
                  <c:v>3</c:v>
                </c:pt>
                <c:pt idx="26">
                  <c:v>3</c:v>
                </c:pt>
              </c:numCache>
            </c:numRef>
          </c:val>
          <c:smooth val="0"/>
          <c:extLst>
            <c:ext xmlns:c16="http://schemas.microsoft.com/office/drawing/2014/chart" uri="{C3380CC4-5D6E-409C-BE32-E72D297353CC}">
              <c16:uniqueId val="{00000003-91F8-4064-846B-5558B3954A30}"/>
            </c:ext>
          </c:extLst>
        </c:ser>
        <c:dLbls>
          <c:showLegendKey val="0"/>
          <c:showVal val="0"/>
          <c:showCatName val="0"/>
          <c:showSerName val="0"/>
          <c:showPercent val="0"/>
          <c:showBubbleSize val="0"/>
        </c:dLbls>
        <c:smooth val="0"/>
        <c:axId val="1595749583"/>
        <c:axId val="1595757903"/>
        <c:extLst>
          <c:ext xmlns:c15="http://schemas.microsoft.com/office/drawing/2012/chart" uri="{02D57815-91ED-43cb-92C2-25804820EDAC}">
            <c15:filteredLineSeries>
              <c15:ser>
                <c:idx val="0"/>
                <c:order val="0"/>
                <c:tx>
                  <c:strRef>
                    <c:extLst>
                      <c:ext uri="{02D57815-91ED-43cb-92C2-25804820EDAC}">
                        <c15:formulaRef>
                          <c15:sqref>Transformation!$C$3</c15:sqref>
                        </c15:formulaRef>
                      </c:ext>
                    </c:extLst>
                    <c:strCache>
                      <c:ptCount val="1"/>
                      <c:pt idx="0">
                        <c:v>Linear </c:v>
                      </c:pt>
                    </c:strCache>
                  </c:strRef>
                </c:tx>
                <c:spPr>
                  <a:ln w="28575" cap="rnd">
                    <a:solidFill>
                      <a:schemeClr val="accent1"/>
                    </a:solidFill>
                    <a:round/>
                  </a:ln>
                  <a:effectLst/>
                </c:spPr>
                <c:marker>
                  <c:symbol val="none"/>
                </c:marker>
                <c:cat>
                  <c:numRef>
                    <c:extLst>
                      <c:ex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c:ext uri="{02D57815-91ED-43cb-92C2-25804820EDAC}">
                        <c15:formulaRef>
                          <c15:sqref>Transformation!$C$4:$C$30</c15:sqref>
                        </c15:formulaRef>
                      </c:ext>
                    </c:extLst>
                    <c:numCache>
                      <c:formatCode>#,##0</c:formatCode>
                      <c:ptCount val="27"/>
                      <c:pt idx="0">
                        <c:v>0</c:v>
                      </c:pt>
                      <c:pt idx="1">
                        <c:v>0.3</c:v>
                      </c:pt>
                      <c:pt idx="2">
                        <c:v>0.6</c:v>
                      </c:pt>
                      <c:pt idx="3">
                        <c:v>0.89999999999999991</c:v>
                      </c:pt>
                      <c:pt idx="4">
                        <c:v>1.2</c:v>
                      </c:pt>
                      <c:pt idx="5">
                        <c:v>1.5</c:v>
                      </c:pt>
                      <c:pt idx="6">
                        <c:v>1.7999999999999998</c:v>
                      </c:pt>
                      <c:pt idx="7">
                        <c:v>2.1</c:v>
                      </c:pt>
                      <c:pt idx="8">
                        <c:v>2.4</c:v>
                      </c:pt>
                      <c:pt idx="9">
                        <c:v>2.6999999999999997</c:v>
                      </c:pt>
                      <c:pt idx="10">
                        <c:v>3</c:v>
                      </c:pt>
                      <c:pt idx="11">
                        <c:v>3.3</c:v>
                      </c:pt>
                      <c:pt idx="12">
                        <c:v>3.5999999999999996</c:v>
                      </c:pt>
                      <c:pt idx="13">
                        <c:v>3.9</c:v>
                      </c:pt>
                      <c:pt idx="14">
                        <c:v>4.2</c:v>
                      </c:pt>
                      <c:pt idx="15">
                        <c:v>4.5</c:v>
                      </c:pt>
                      <c:pt idx="16">
                        <c:v>4.8</c:v>
                      </c:pt>
                      <c:pt idx="17">
                        <c:v>5.0999999999999996</c:v>
                      </c:pt>
                      <c:pt idx="18">
                        <c:v>5.3999999999999995</c:v>
                      </c:pt>
                      <c:pt idx="19">
                        <c:v>5.7</c:v>
                      </c:pt>
                      <c:pt idx="20">
                        <c:v>6</c:v>
                      </c:pt>
                      <c:pt idx="21">
                        <c:v>6.3</c:v>
                      </c:pt>
                      <c:pt idx="22">
                        <c:v>6.6</c:v>
                      </c:pt>
                      <c:pt idx="23">
                        <c:v>6.8999999999999995</c:v>
                      </c:pt>
                      <c:pt idx="24">
                        <c:v>7.1999999999999993</c:v>
                      </c:pt>
                      <c:pt idx="25">
                        <c:v>7.5</c:v>
                      </c:pt>
                      <c:pt idx="26">
                        <c:v>7.8</c:v>
                      </c:pt>
                    </c:numCache>
                  </c:numRef>
                </c:val>
                <c:smooth val="0"/>
                <c:extLst>
                  <c:ext xmlns:c16="http://schemas.microsoft.com/office/drawing/2014/chart" uri="{C3380CC4-5D6E-409C-BE32-E72D297353CC}">
                    <c16:uniqueId val="{00000000-91F8-4064-846B-5558B3954A30}"/>
                  </c:ext>
                </c:extLst>
              </c15:ser>
            </c15:filteredLineSeries>
            <c15:filteredLineSeries>
              <c15:ser>
                <c:idx val="2"/>
                <c:order val="4"/>
                <c:tx>
                  <c:strRef>
                    <c:extLst xmlns:c15="http://schemas.microsoft.com/office/drawing/2012/chart">
                      <c:ext xmlns:c15="http://schemas.microsoft.com/office/drawing/2012/chart" uri="{02D57815-91ED-43cb-92C2-25804820EDAC}">
                        <c15:formulaRef>
                          <c15:sqref>Transformation!$H$3</c15:sqref>
                        </c15:formulaRef>
                      </c:ext>
                    </c:extLst>
                    <c:strCache>
                      <c:ptCount val="1"/>
                      <c:pt idx="0">
                        <c:v>Polynomial degree 2</c:v>
                      </c:pt>
                    </c:strCache>
                  </c:strRef>
                </c:tx>
                <c:spPr>
                  <a:ln w="28575"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H$4:$H$30</c15:sqref>
                        </c15:formulaRef>
                      </c:ext>
                    </c:extLst>
                    <c:numCache>
                      <c:formatCode>#,##0</c:formatCode>
                      <c:ptCount val="27"/>
                      <c:pt idx="0">
                        <c:v>0</c:v>
                      </c:pt>
                      <c:pt idx="1">
                        <c:v>1.1645000000000001</c:v>
                      </c:pt>
                      <c:pt idx="2">
                        <c:v>1.3440000000000001</c:v>
                      </c:pt>
                      <c:pt idx="3">
                        <c:v>1.5385</c:v>
                      </c:pt>
                      <c:pt idx="4">
                        <c:v>1.7480000000000002</c:v>
                      </c:pt>
                      <c:pt idx="5">
                        <c:v>1.9725000000000001</c:v>
                      </c:pt>
                      <c:pt idx="6">
                        <c:v>2.2119999999999997</c:v>
                      </c:pt>
                      <c:pt idx="7">
                        <c:v>2.4665000000000004</c:v>
                      </c:pt>
                      <c:pt idx="8">
                        <c:v>2.7360000000000002</c:v>
                      </c:pt>
                      <c:pt idx="9">
                        <c:v>3.0205000000000002</c:v>
                      </c:pt>
                      <c:pt idx="10">
                        <c:v>3.3200000000000003</c:v>
                      </c:pt>
                      <c:pt idx="11">
                        <c:v>3.6345000000000001</c:v>
                      </c:pt>
                      <c:pt idx="12">
                        <c:v>3.964</c:v>
                      </c:pt>
                      <c:pt idx="13">
                        <c:v>4.3084999999999996</c:v>
                      </c:pt>
                      <c:pt idx="14">
                        <c:v>4.6680000000000001</c:v>
                      </c:pt>
                      <c:pt idx="15">
                        <c:v>5.0425000000000004</c:v>
                      </c:pt>
                      <c:pt idx="16">
                        <c:v>5.4320000000000004</c:v>
                      </c:pt>
                      <c:pt idx="17">
                        <c:v>5.8365</c:v>
                      </c:pt>
                      <c:pt idx="18">
                        <c:v>6.2560000000000002</c:v>
                      </c:pt>
                      <c:pt idx="19">
                        <c:v>6.6905000000000001</c:v>
                      </c:pt>
                      <c:pt idx="20">
                        <c:v>7.1400000000000006</c:v>
                      </c:pt>
                      <c:pt idx="21">
                        <c:v>7.6044999999999998</c:v>
                      </c:pt>
                      <c:pt idx="22">
                        <c:v>8.0839999999999996</c:v>
                      </c:pt>
                      <c:pt idx="23">
                        <c:v>8.5785</c:v>
                      </c:pt>
                      <c:pt idx="24">
                        <c:v>9.088000000000001</c:v>
                      </c:pt>
                      <c:pt idx="25">
                        <c:v>9.6125000000000007</c:v>
                      </c:pt>
                      <c:pt idx="26">
                        <c:v>10.151999999999999</c:v>
                      </c:pt>
                    </c:numCache>
                  </c:numRef>
                </c:val>
                <c:smooth val="0"/>
                <c:extLst xmlns:c15="http://schemas.microsoft.com/office/drawing/2012/chart">
                  <c:ext xmlns:c16="http://schemas.microsoft.com/office/drawing/2014/chart" uri="{C3380CC4-5D6E-409C-BE32-E72D297353CC}">
                    <c16:uniqueId val="{00000004-91F8-4064-846B-5558B3954A30}"/>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Transformation!$I$3</c15:sqref>
                        </c15:formulaRef>
                      </c:ext>
                    </c:extLst>
                    <c:strCache>
                      <c:ptCount val="1"/>
                      <c:pt idx="0">
                        <c:v>Polynomial degree 3</c:v>
                      </c:pt>
                    </c:strCache>
                  </c:strRef>
                </c:tx>
                <c:spPr>
                  <a:ln w="28575"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I$4:$I$30</c15:sqref>
                        </c15:formulaRef>
                      </c:ext>
                    </c:extLst>
                    <c:numCache>
                      <c:formatCode>#,##0</c:formatCode>
                      <c:ptCount val="27"/>
                      <c:pt idx="0">
                        <c:v>0</c:v>
                      </c:pt>
                      <c:pt idx="1">
                        <c:v>1.1655</c:v>
                      </c:pt>
                      <c:pt idx="2">
                        <c:v>1.3520000000000001</c:v>
                      </c:pt>
                      <c:pt idx="3">
                        <c:v>1.5654999999999999</c:v>
                      </c:pt>
                      <c:pt idx="4">
                        <c:v>1.8120000000000003</c:v>
                      </c:pt>
                      <c:pt idx="5">
                        <c:v>2.0975000000000001</c:v>
                      </c:pt>
                      <c:pt idx="6">
                        <c:v>2.4279999999999999</c:v>
                      </c:pt>
                      <c:pt idx="7">
                        <c:v>2.8095000000000003</c:v>
                      </c:pt>
                      <c:pt idx="8">
                        <c:v>3.2480000000000002</c:v>
                      </c:pt>
                      <c:pt idx="9">
                        <c:v>3.7495000000000003</c:v>
                      </c:pt>
                      <c:pt idx="10">
                        <c:v>4.32</c:v>
                      </c:pt>
                      <c:pt idx="11">
                        <c:v>4.9655000000000005</c:v>
                      </c:pt>
                      <c:pt idx="12">
                        <c:v>5.6920000000000002</c:v>
                      </c:pt>
                      <c:pt idx="13">
                        <c:v>6.5054999999999996</c:v>
                      </c:pt>
                      <c:pt idx="14">
                        <c:v>7.4120000000000008</c:v>
                      </c:pt>
                      <c:pt idx="15">
                        <c:v>8.4175000000000004</c:v>
                      </c:pt>
                      <c:pt idx="16">
                        <c:v>9.5280000000000005</c:v>
                      </c:pt>
                      <c:pt idx="17">
                        <c:v>10.749500000000001</c:v>
                      </c:pt>
                      <c:pt idx="18">
                        <c:v>12.088000000000001</c:v>
                      </c:pt>
                      <c:pt idx="19">
                        <c:v>13.5495</c:v>
                      </c:pt>
                      <c:pt idx="20">
                        <c:v>15.14</c:v>
                      </c:pt>
                      <c:pt idx="21">
                        <c:v>16.865500000000001</c:v>
                      </c:pt>
                      <c:pt idx="22">
                        <c:v>18.731999999999999</c:v>
                      </c:pt>
                      <c:pt idx="23">
                        <c:v>20.7455</c:v>
                      </c:pt>
                      <c:pt idx="24">
                        <c:v>22.911999999999999</c:v>
                      </c:pt>
                      <c:pt idx="25">
                        <c:v>25.237500000000001</c:v>
                      </c:pt>
                      <c:pt idx="26">
                        <c:v>27.728000000000002</c:v>
                      </c:pt>
                    </c:numCache>
                  </c:numRef>
                </c:val>
                <c:smooth val="0"/>
                <c:extLst xmlns:c15="http://schemas.microsoft.com/office/drawing/2012/chart">
                  <c:ext xmlns:c16="http://schemas.microsoft.com/office/drawing/2014/chart" uri="{C3380CC4-5D6E-409C-BE32-E72D297353CC}">
                    <c16:uniqueId val="{00000005-91F8-4064-846B-5558B3954A30}"/>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Transformation!$J$3</c15:sqref>
                        </c15:formulaRef>
                      </c:ext>
                    </c:extLst>
                    <c:strCache>
                      <c:ptCount val="1"/>
                      <c:pt idx="0">
                        <c:v>Square Root </c:v>
                      </c:pt>
                    </c:strCache>
                  </c:strRef>
                </c:tx>
                <c:spPr>
                  <a:ln w="28575" cap="rnd">
                    <a:solidFill>
                      <a:schemeClr val="accent1">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J$4:$J$30</c15:sqref>
                        </c15:formulaRef>
                      </c:ext>
                    </c:extLst>
                    <c:numCache>
                      <c:formatCode>#,##0</c:formatCode>
                      <c:ptCount val="27"/>
                      <c:pt idx="0">
                        <c:v>0</c:v>
                      </c:pt>
                      <c:pt idx="1">
                        <c:v>1</c:v>
                      </c:pt>
                      <c:pt idx="2">
                        <c:v>1.4142135623730951</c:v>
                      </c:pt>
                      <c:pt idx="3">
                        <c:v>1.7320508075688772</c:v>
                      </c:pt>
                      <c:pt idx="4">
                        <c:v>2</c:v>
                      </c:pt>
                      <c:pt idx="5">
                        <c:v>2.2360679774997898</c:v>
                      </c:pt>
                      <c:pt idx="6">
                        <c:v>2.4494897427831779</c:v>
                      </c:pt>
                      <c:pt idx="7">
                        <c:v>2.6457513110645907</c:v>
                      </c:pt>
                      <c:pt idx="8">
                        <c:v>2.8284271247461903</c:v>
                      </c:pt>
                      <c:pt idx="9">
                        <c:v>3</c:v>
                      </c:pt>
                      <c:pt idx="10">
                        <c:v>3.1622776601683795</c:v>
                      </c:pt>
                      <c:pt idx="11">
                        <c:v>3.3166247903553998</c:v>
                      </c:pt>
                      <c:pt idx="12">
                        <c:v>3.4641016151377544</c:v>
                      </c:pt>
                      <c:pt idx="13">
                        <c:v>3.6055512754639891</c:v>
                      </c:pt>
                      <c:pt idx="14">
                        <c:v>3.7416573867739413</c:v>
                      </c:pt>
                      <c:pt idx="15">
                        <c:v>3.872983346207417</c:v>
                      </c:pt>
                      <c:pt idx="16">
                        <c:v>4</c:v>
                      </c:pt>
                      <c:pt idx="17">
                        <c:v>4.1231056256176606</c:v>
                      </c:pt>
                      <c:pt idx="18">
                        <c:v>4.2426406871192848</c:v>
                      </c:pt>
                      <c:pt idx="19">
                        <c:v>4.358898943540674</c:v>
                      </c:pt>
                      <c:pt idx="20">
                        <c:v>4.4721359549995796</c:v>
                      </c:pt>
                      <c:pt idx="21">
                        <c:v>4.5825756949558398</c:v>
                      </c:pt>
                      <c:pt idx="22">
                        <c:v>4.6904157598234297</c:v>
                      </c:pt>
                      <c:pt idx="23">
                        <c:v>4.7958315233127191</c:v>
                      </c:pt>
                      <c:pt idx="24">
                        <c:v>4.8989794855663558</c:v>
                      </c:pt>
                      <c:pt idx="25">
                        <c:v>5</c:v>
                      </c:pt>
                      <c:pt idx="26">
                        <c:v>5.0990195135927845</c:v>
                      </c:pt>
                    </c:numCache>
                  </c:numRef>
                </c:val>
                <c:smooth val="0"/>
                <c:extLst xmlns:c15="http://schemas.microsoft.com/office/drawing/2012/chart">
                  <c:ext xmlns:c16="http://schemas.microsoft.com/office/drawing/2014/chart" uri="{C3380CC4-5D6E-409C-BE32-E72D297353CC}">
                    <c16:uniqueId val="{00000006-91F8-4064-846B-5558B3954A30}"/>
                  </c:ext>
                </c:extLst>
              </c15:ser>
            </c15:filteredLineSeries>
          </c:ext>
        </c:extLst>
      </c:lineChart>
      <c:catAx>
        <c:axId val="159574958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Promo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57903"/>
        <c:crosses val="autoZero"/>
        <c:auto val="1"/>
        <c:lblAlgn val="ctr"/>
        <c:lblOffset val="100"/>
        <c:noMultiLvlLbl val="0"/>
      </c:catAx>
      <c:valAx>
        <c:axId val="15957579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Impac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49583"/>
        <c:crosses val="autoZero"/>
        <c:crossBetween val="between"/>
      </c:valAx>
      <c:spPr>
        <a:noFill/>
        <a:ln>
          <a:noFill/>
        </a:ln>
        <a:effectLst/>
      </c:spPr>
    </c:plotArea>
    <c:legend>
      <c:legendPos val="b"/>
      <c:layout>
        <c:manualLayout>
          <c:xMode val="edge"/>
          <c:yMode val="edge"/>
          <c:x val="0.10456080596091209"/>
          <c:y val="5.0338136070929206E-2"/>
          <c:w val="0.53183562013778607"/>
          <c:h val="0.20827908762248867"/>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b="1" u="sng"/>
              <a:t>Response Curves</a:t>
            </a:r>
          </a:p>
        </c:rich>
      </c:tx>
      <c:overlay val="0"/>
      <c:spPr>
        <a:noFill/>
        <a:ln>
          <a:noFill/>
        </a:ln>
        <a:effectLst/>
      </c:spPr>
      <c:txPr>
        <a:bodyPr rot="0" spcFirstLastPara="1" vertOverflow="ellipsis" vert="horz" wrap="square" anchor="ctr" anchorCtr="1"/>
        <a:lstStyle/>
        <a:p>
          <a:pPr>
            <a:defRPr sz="1400" b="1" i="0" u="sng"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5.4613464877154815E-2"/>
          <c:y val="0.10546510624838255"/>
          <c:w val="0.93027148873793797"/>
          <c:h val="0.74462248037496048"/>
        </c:manualLayout>
      </c:layout>
      <c:lineChart>
        <c:grouping val="standard"/>
        <c:varyColors val="0"/>
        <c:ser>
          <c:idx val="2"/>
          <c:order val="4"/>
          <c:tx>
            <c:strRef>
              <c:f>Transformation!$H$3</c:f>
              <c:strCache>
                <c:ptCount val="1"/>
                <c:pt idx="0">
                  <c:v>Polynomial degree 2</c:v>
                </c:pt>
              </c:strCache>
            </c:strRef>
          </c:tx>
          <c:spPr>
            <a:ln w="28575" cap="rnd">
              <a:solidFill>
                <a:schemeClr val="accent3"/>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H$4:$H$30</c:f>
              <c:numCache>
                <c:formatCode>#,##0</c:formatCode>
                <c:ptCount val="27"/>
                <c:pt idx="0">
                  <c:v>0</c:v>
                </c:pt>
                <c:pt idx="1">
                  <c:v>1.1645000000000001</c:v>
                </c:pt>
                <c:pt idx="2">
                  <c:v>1.3440000000000001</c:v>
                </c:pt>
                <c:pt idx="3">
                  <c:v>1.5385</c:v>
                </c:pt>
                <c:pt idx="4">
                  <c:v>1.7480000000000002</c:v>
                </c:pt>
                <c:pt idx="5">
                  <c:v>1.9725000000000001</c:v>
                </c:pt>
                <c:pt idx="6">
                  <c:v>2.2119999999999997</c:v>
                </c:pt>
                <c:pt idx="7">
                  <c:v>2.4665000000000004</c:v>
                </c:pt>
                <c:pt idx="8">
                  <c:v>2.7360000000000002</c:v>
                </c:pt>
                <c:pt idx="9">
                  <c:v>3.0205000000000002</c:v>
                </c:pt>
                <c:pt idx="10">
                  <c:v>3.3200000000000003</c:v>
                </c:pt>
                <c:pt idx="11">
                  <c:v>3.6345000000000001</c:v>
                </c:pt>
                <c:pt idx="12">
                  <c:v>3.964</c:v>
                </c:pt>
                <c:pt idx="13">
                  <c:v>4.3084999999999996</c:v>
                </c:pt>
                <c:pt idx="14">
                  <c:v>4.6680000000000001</c:v>
                </c:pt>
                <c:pt idx="15">
                  <c:v>5.0425000000000004</c:v>
                </c:pt>
                <c:pt idx="16">
                  <c:v>5.4320000000000004</c:v>
                </c:pt>
                <c:pt idx="17">
                  <c:v>5.8365</c:v>
                </c:pt>
                <c:pt idx="18">
                  <c:v>6.2560000000000002</c:v>
                </c:pt>
                <c:pt idx="19">
                  <c:v>6.6905000000000001</c:v>
                </c:pt>
                <c:pt idx="20">
                  <c:v>7.1400000000000006</c:v>
                </c:pt>
                <c:pt idx="21">
                  <c:v>7.6044999999999998</c:v>
                </c:pt>
                <c:pt idx="22">
                  <c:v>8.0839999999999996</c:v>
                </c:pt>
                <c:pt idx="23">
                  <c:v>8.5785</c:v>
                </c:pt>
                <c:pt idx="24">
                  <c:v>9.088000000000001</c:v>
                </c:pt>
                <c:pt idx="25">
                  <c:v>9.6125000000000007</c:v>
                </c:pt>
                <c:pt idx="26">
                  <c:v>10.151999999999999</c:v>
                </c:pt>
              </c:numCache>
            </c:numRef>
          </c:val>
          <c:smooth val="0"/>
          <c:extLst>
            <c:ext xmlns:c16="http://schemas.microsoft.com/office/drawing/2014/chart" uri="{C3380CC4-5D6E-409C-BE32-E72D297353CC}">
              <c16:uniqueId val="{00000004-91F8-4064-846B-5558B3954A30}"/>
            </c:ext>
          </c:extLst>
        </c:ser>
        <c:ser>
          <c:idx val="5"/>
          <c:order val="5"/>
          <c:tx>
            <c:strRef>
              <c:f>Transformation!$I$3</c:f>
              <c:strCache>
                <c:ptCount val="1"/>
                <c:pt idx="0">
                  <c:v>Polynomial degree 3</c:v>
                </c:pt>
              </c:strCache>
            </c:strRef>
          </c:tx>
          <c:spPr>
            <a:ln w="28575" cap="rnd">
              <a:solidFill>
                <a:schemeClr val="accent6"/>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I$4:$I$30</c:f>
              <c:numCache>
                <c:formatCode>#,##0</c:formatCode>
                <c:ptCount val="27"/>
                <c:pt idx="0">
                  <c:v>0</c:v>
                </c:pt>
                <c:pt idx="1">
                  <c:v>1.1655</c:v>
                </c:pt>
                <c:pt idx="2">
                  <c:v>1.3520000000000001</c:v>
                </c:pt>
                <c:pt idx="3">
                  <c:v>1.5654999999999999</c:v>
                </c:pt>
                <c:pt idx="4">
                  <c:v>1.8120000000000003</c:v>
                </c:pt>
                <c:pt idx="5">
                  <c:v>2.0975000000000001</c:v>
                </c:pt>
                <c:pt idx="6">
                  <c:v>2.4279999999999999</c:v>
                </c:pt>
                <c:pt idx="7">
                  <c:v>2.8095000000000003</c:v>
                </c:pt>
                <c:pt idx="8">
                  <c:v>3.2480000000000002</c:v>
                </c:pt>
                <c:pt idx="9">
                  <c:v>3.7495000000000003</c:v>
                </c:pt>
                <c:pt idx="10">
                  <c:v>4.32</c:v>
                </c:pt>
                <c:pt idx="11">
                  <c:v>4.9655000000000005</c:v>
                </c:pt>
                <c:pt idx="12">
                  <c:v>5.6920000000000002</c:v>
                </c:pt>
                <c:pt idx="13">
                  <c:v>6.5054999999999996</c:v>
                </c:pt>
                <c:pt idx="14">
                  <c:v>7.4120000000000008</c:v>
                </c:pt>
                <c:pt idx="15">
                  <c:v>8.4175000000000004</c:v>
                </c:pt>
                <c:pt idx="16">
                  <c:v>9.5280000000000005</c:v>
                </c:pt>
                <c:pt idx="17">
                  <c:v>10.749500000000001</c:v>
                </c:pt>
                <c:pt idx="18">
                  <c:v>12.088000000000001</c:v>
                </c:pt>
                <c:pt idx="19">
                  <c:v>13.5495</c:v>
                </c:pt>
                <c:pt idx="20">
                  <c:v>15.14</c:v>
                </c:pt>
                <c:pt idx="21">
                  <c:v>16.865500000000001</c:v>
                </c:pt>
                <c:pt idx="22">
                  <c:v>18.731999999999999</c:v>
                </c:pt>
                <c:pt idx="23">
                  <c:v>20.7455</c:v>
                </c:pt>
                <c:pt idx="24">
                  <c:v>22.911999999999999</c:v>
                </c:pt>
                <c:pt idx="25">
                  <c:v>25.237500000000001</c:v>
                </c:pt>
                <c:pt idx="26">
                  <c:v>27.728000000000002</c:v>
                </c:pt>
              </c:numCache>
            </c:numRef>
          </c:val>
          <c:smooth val="0"/>
          <c:extLst>
            <c:ext xmlns:c16="http://schemas.microsoft.com/office/drawing/2014/chart" uri="{C3380CC4-5D6E-409C-BE32-E72D297353CC}">
              <c16:uniqueId val="{00000005-91F8-4064-846B-5558B3954A30}"/>
            </c:ext>
          </c:extLst>
        </c:ser>
        <c:ser>
          <c:idx val="6"/>
          <c:order val="6"/>
          <c:tx>
            <c:strRef>
              <c:f>Transformation!$J$3</c:f>
              <c:strCache>
                <c:ptCount val="1"/>
                <c:pt idx="0">
                  <c:v>Square Root </c:v>
                </c:pt>
              </c:strCache>
            </c:strRef>
          </c:tx>
          <c:spPr>
            <a:ln w="28575" cap="rnd">
              <a:solidFill>
                <a:schemeClr val="accent1">
                  <a:lumMod val="60000"/>
                </a:schemeClr>
              </a:solidFill>
              <a:round/>
            </a:ln>
            <a:effectLst/>
          </c:spPr>
          <c:marker>
            <c:symbol val="none"/>
          </c:marker>
          <c:cat>
            <c:numRef>
              <c:f>Transformation!$B$4:$B$30</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f>Transformation!$J$4:$J$30</c:f>
              <c:numCache>
                <c:formatCode>#,##0</c:formatCode>
                <c:ptCount val="27"/>
                <c:pt idx="0">
                  <c:v>0</c:v>
                </c:pt>
                <c:pt idx="1">
                  <c:v>1</c:v>
                </c:pt>
                <c:pt idx="2">
                  <c:v>1.4142135623730951</c:v>
                </c:pt>
                <c:pt idx="3">
                  <c:v>1.7320508075688772</c:v>
                </c:pt>
                <c:pt idx="4">
                  <c:v>2</c:v>
                </c:pt>
                <c:pt idx="5">
                  <c:v>2.2360679774997898</c:v>
                </c:pt>
                <c:pt idx="6">
                  <c:v>2.4494897427831779</c:v>
                </c:pt>
                <c:pt idx="7">
                  <c:v>2.6457513110645907</c:v>
                </c:pt>
                <c:pt idx="8">
                  <c:v>2.8284271247461903</c:v>
                </c:pt>
                <c:pt idx="9">
                  <c:v>3</c:v>
                </c:pt>
                <c:pt idx="10">
                  <c:v>3.1622776601683795</c:v>
                </c:pt>
                <c:pt idx="11">
                  <c:v>3.3166247903553998</c:v>
                </c:pt>
                <c:pt idx="12">
                  <c:v>3.4641016151377544</c:v>
                </c:pt>
                <c:pt idx="13">
                  <c:v>3.6055512754639891</c:v>
                </c:pt>
                <c:pt idx="14">
                  <c:v>3.7416573867739413</c:v>
                </c:pt>
                <c:pt idx="15">
                  <c:v>3.872983346207417</c:v>
                </c:pt>
                <c:pt idx="16">
                  <c:v>4</c:v>
                </c:pt>
                <c:pt idx="17">
                  <c:v>4.1231056256176606</c:v>
                </c:pt>
                <c:pt idx="18">
                  <c:v>4.2426406871192848</c:v>
                </c:pt>
                <c:pt idx="19">
                  <c:v>4.358898943540674</c:v>
                </c:pt>
                <c:pt idx="20">
                  <c:v>4.4721359549995796</c:v>
                </c:pt>
                <c:pt idx="21">
                  <c:v>4.5825756949558398</c:v>
                </c:pt>
                <c:pt idx="22">
                  <c:v>4.6904157598234297</c:v>
                </c:pt>
                <c:pt idx="23">
                  <c:v>4.7958315233127191</c:v>
                </c:pt>
                <c:pt idx="24">
                  <c:v>4.8989794855663558</c:v>
                </c:pt>
                <c:pt idx="25">
                  <c:v>5</c:v>
                </c:pt>
                <c:pt idx="26">
                  <c:v>5.0990195135927845</c:v>
                </c:pt>
              </c:numCache>
            </c:numRef>
          </c:val>
          <c:smooth val="0"/>
          <c:extLst>
            <c:ext xmlns:c16="http://schemas.microsoft.com/office/drawing/2014/chart" uri="{C3380CC4-5D6E-409C-BE32-E72D297353CC}">
              <c16:uniqueId val="{00000006-91F8-4064-846B-5558B3954A30}"/>
            </c:ext>
          </c:extLst>
        </c:ser>
        <c:dLbls>
          <c:showLegendKey val="0"/>
          <c:showVal val="0"/>
          <c:showCatName val="0"/>
          <c:showSerName val="0"/>
          <c:showPercent val="0"/>
          <c:showBubbleSize val="0"/>
        </c:dLbls>
        <c:smooth val="0"/>
        <c:axId val="1595749583"/>
        <c:axId val="1595757903"/>
        <c:extLst>
          <c:ext xmlns:c15="http://schemas.microsoft.com/office/drawing/2012/chart" uri="{02D57815-91ED-43cb-92C2-25804820EDAC}">
            <c15:filteredLineSeries>
              <c15:ser>
                <c:idx val="0"/>
                <c:order val="0"/>
                <c:tx>
                  <c:strRef>
                    <c:extLst>
                      <c:ext uri="{02D57815-91ED-43cb-92C2-25804820EDAC}">
                        <c15:formulaRef>
                          <c15:sqref>Transformation!$C$3</c15:sqref>
                        </c15:formulaRef>
                      </c:ext>
                    </c:extLst>
                    <c:strCache>
                      <c:ptCount val="1"/>
                      <c:pt idx="0">
                        <c:v>Linear </c:v>
                      </c:pt>
                    </c:strCache>
                  </c:strRef>
                </c:tx>
                <c:spPr>
                  <a:ln w="28575" cap="rnd">
                    <a:solidFill>
                      <a:schemeClr val="accent1"/>
                    </a:solidFill>
                    <a:round/>
                  </a:ln>
                  <a:effectLst/>
                </c:spPr>
                <c:marker>
                  <c:symbol val="none"/>
                </c:marker>
                <c:cat>
                  <c:numRef>
                    <c:extLst>
                      <c:ex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c:ext uri="{02D57815-91ED-43cb-92C2-25804820EDAC}">
                        <c15:formulaRef>
                          <c15:sqref>Transformation!$C$4:$C$30</c15:sqref>
                        </c15:formulaRef>
                      </c:ext>
                    </c:extLst>
                    <c:numCache>
                      <c:formatCode>#,##0</c:formatCode>
                      <c:ptCount val="27"/>
                      <c:pt idx="0">
                        <c:v>0</c:v>
                      </c:pt>
                      <c:pt idx="1">
                        <c:v>0.3</c:v>
                      </c:pt>
                      <c:pt idx="2">
                        <c:v>0.6</c:v>
                      </c:pt>
                      <c:pt idx="3">
                        <c:v>0.89999999999999991</c:v>
                      </c:pt>
                      <c:pt idx="4">
                        <c:v>1.2</c:v>
                      </c:pt>
                      <c:pt idx="5">
                        <c:v>1.5</c:v>
                      </c:pt>
                      <c:pt idx="6">
                        <c:v>1.7999999999999998</c:v>
                      </c:pt>
                      <c:pt idx="7">
                        <c:v>2.1</c:v>
                      </c:pt>
                      <c:pt idx="8">
                        <c:v>2.4</c:v>
                      </c:pt>
                      <c:pt idx="9">
                        <c:v>2.6999999999999997</c:v>
                      </c:pt>
                      <c:pt idx="10">
                        <c:v>3</c:v>
                      </c:pt>
                      <c:pt idx="11">
                        <c:v>3.3</c:v>
                      </c:pt>
                      <c:pt idx="12">
                        <c:v>3.5999999999999996</c:v>
                      </c:pt>
                      <c:pt idx="13">
                        <c:v>3.9</c:v>
                      </c:pt>
                      <c:pt idx="14">
                        <c:v>4.2</c:v>
                      </c:pt>
                      <c:pt idx="15">
                        <c:v>4.5</c:v>
                      </c:pt>
                      <c:pt idx="16">
                        <c:v>4.8</c:v>
                      </c:pt>
                      <c:pt idx="17">
                        <c:v>5.0999999999999996</c:v>
                      </c:pt>
                      <c:pt idx="18">
                        <c:v>5.3999999999999995</c:v>
                      </c:pt>
                      <c:pt idx="19">
                        <c:v>5.7</c:v>
                      </c:pt>
                      <c:pt idx="20">
                        <c:v>6</c:v>
                      </c:pt>
                      <c:pt idx="21">
                        <c:v>6.3</c:v>
                      </c:pt>
                      <c:pt idx="22">
                        <c:v>6.6</c:v>
                      </c:pt>
                      <c:pt idx="23">
                        <c:v>6.8999999999999995</c:v>
                      </c:pt>
                      <c:pt idx="24">
                        <c:v>7.1999999999999993</c:v>
                      </c:pt>
                      <c:pt idx="25">
                        <c:v>7.5</c:v>
                      </c:pt>
                      <c:pt idx="26">
                        <c:v>7.8</c:v>
                      </c:pt>
                    </c:numCache>
                  </c:numRef>
                </c:val>
                <c:smooth val="0"/>
                <c:extLst>
                  <c:ext xmlns:c16="http://schemas.microsoft.com/office/drawing/2014/chart" uri="{C3380CC4-5D6E-409C-BE32-E72D297353CC}">
                    <c16:uniqueId val="{00000000-91F8-4064-846B-5558B3954A30}"/>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Transformation!$D$3</c15:sqref>
                        </c15:formulaRef>
                      </c:ext>
                    </c:extLst>
                    <c:strCache>
                      <c:ptCount val="1"/>
                      <c:pt idx="0">
                        <c:v>Log Curve</c:v>
                      </c:pt>
                    </c:strCache>
                  </c:strRef>
                </c:tx>
                <c:spPr>
                  <a:ln w="28575" cap="rnd">
                    <a:solidFill>
                      <a:schemeClr val="accent2"/>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D$4:$D$30</c15:sqref>
                        </c15:formulaRef>
                      </c:ext>
                    </c:extLst>
                    <c:numCache>
                      <c:formatCode>#,##0</c:formatCode>
                      <c:ptCount val="27"/>
                      <c:pt idx="0">
                        <c:v>0</c:v>
                      </c:pt>
                      <c:pt idx="1">
                        <c:v>0.69314718055994529</c:v>
                      </c:pt>
                      <c:pt idx="2">
                        <c:v>1.0986122886681098</c:v>
                      </c:pt>
                      <c:pt idx="3">
                        <c:v>1.3862943611198906</c:v>
                      </c:pt>
                      <c:pt idx="4">
                        <c:v>1.6094379124341003</c:v>
                      </c:pt>
                      <c:pt idx="5">
                        <c:v>1.791759469228055</c:v>
                      </c:pt>
                      <c:pt idx="6">
                        <c:v>1.9459101490553132</c:v>
                      </c:pt>
                      <c:pt idx="7">
                        <c:v>2.0794415416798357</c:v>
                      </c:pt>
                      <c:pt idx="8">
                        <c:v>2.1972245773362196</c:v>
                      </c:pt>
                      <c:pt idx="9">
                        <c:v>2.3025850929940459</c:v>
                      </c:pt>
                      <c:pt idx="10">
                        <c:v>2.3978952727983707</c:v>
                      </c:pt>
                      <c:pt idx="11">
                        <c:v>2.4849066497880004</c:v>
                      </c:pt>
                      <c:pt idx="12">
                        <c:v>2.5649493574615367</c:v>
                      </c:pt>
                      <c:pt idx="13">
                        <c:v>2.6390573296152584</c:v>
                      </c:pt>
                      <c:pt idx="14">
                        <c:v>2.7080502011022101</c:v>
                      </c:pt>
                      <c:pt idx="15">
                        <c:v>2.7725887222397811</c:v>
                      </c:pt>
                      <c:pt idx="16">
                        <c:v>2.8332133440562162</c:v>
                      </c:pt>
                      <c:pt idx="17">
                        <c:v>2.8903717578961645</c:v>
                      </c:pt>
                      <c:pt idx="18">
                        <c:v>2.9444389791664403</c:v>
                      </c:pt>
                      <c:pt idx="19">
                        <c:v>2.9957322735539909</c:v>
                      </c:pt>
                      <c:pt idx="20">
                        <c:v>3.044522437723423</c:v>
                      </c:pt>
                      <c:pt idx="21">
                        <c:v>3.0910424533583161</c:v>
                      </c:pt>
                      <c:pt idx="22">
                        <c:v>3.1354942159291497</c:v>
                      </c:pt>
                      <c:pt idx="23">
                        <c:v>3.1780538303479458</c:v>
                      </c:pt>
                      <c:pt idx="24">
                        <c:v>3.2188758248682006</c:v>
                      </c:pt>
                      <c:pt idx="25">
                        <c:v>3.2580965380214821</c:v>
                      </c:pt>
                      <c:pt idx="26">
                        <c:v>3.2958368660043291</c:v>
                      </c:pt>
                    </c:numCache>
                  </c:numRef>
                </c:val>
                <c:smooth val="0"/>
                <c:extLst xmlns:c15="http://schemas.microsoft.com/office/drawing/2012/chart">
                  <c:ext xmlns:c16="http://schemas.microsoft.com/office/drawing/2014/chart" uri="{C3380CC4-5D6E-409C-BE32-E72D297353CC}">
                    <c16:uniqueId val="{00000001-91F8-4064-846B-5558B3954A30}"/>
                  </c:ext>
                </c:extLst>
              </c15:ser>
            </c15:filteredLineSeries>
            <c15:filteredLineSeries>
              <c15:ser>
                <c:idx val="3"/>
                <c:order val="2"/>
                <c:tx>
                  <c:strRef>
                    <c:extLst xmlns:c15="http://schemas.microsoft.com/office/drawing/2012/chart">
                      <c:ext xmlns:c15="http://schemas.microsoft.com/office/drawing/2012/chart" uri="{02D57815-91ED-43cb-92C2-25804820EDAC}">
                        <c15:formulaRef>
                          <c15:sqref>Transformation!$E$3</c15:sqref>
                        </c15:formulaRef>
                      </c:ext>
                    </c:extLst>
                    <c:strCache>
                      <c:ptCount val="1"/>
                      <c:pt idx="0">
                        <c:v>Negative Exponential </c:v>
                      </c:pt>
                    </c:strCache>
                  </c:strRef>
                </c:tx>
                <c:spPr>
                  <a:ln w="28575"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E$4:$E$30</c15:sqref>
                        </c15:formulaRef>
                      </c:ext>
                    </c:extLst>
                    <c:numCache>
                      <c:formatCode>#,##0</c:formatCode>
                      <c:ptCount val="27"/>
                      <c:pt idx="0">
                        <c:v>0</c:v>
                      </c:pt>
                      <c:pt idx="1">
                        <c:v>9.5162581964040482E-2</c:v>
                      </c:pt>
                      <c:pt idx="2">
                        <c:v>0.18126924692201818</c:v>
                      </c:pt>
                      <c:pt idx="3">
                        <c:v>0.25918177931828212</c:v>
                      </c:pt>
                      <c:pt idx="4">
                        <c:v>0.32967995396436067</c:v>
                      </c:pt>
                      <c:pt idx="5">
                        <c:v>0.39346934028736658</c:v>
                      </c:pt>
                      <c:pt idx="6">
                        <c:v>0.45118836390597361</c:v>
                      </c:pt>
                      <c:pt idx="7">
                        <c:v>0.50341469620859058</c:v>
                      </c:pt>
                      <c:pt idx="8">
                        <c:v>0.55067103588277844</c:v>
                      </c:pt>
                      <c:pt idx="9">
                        <c:v>0.59343034025940089</c:v>
                      </c:pt>
                      <c:pt idx="10">
                        <c:v>0.63212055882855767</c:v>
                      </c:pt>
                      <c:pt idx="11">
                        <c:v>0.6671289163019205</c:v>
                      </c:pt>
                      <c:pt idx="12">
                        <c:v>0.69880578808779803</c:v>
                      </c:pt>
                      <c:pt idx="13">
                        <c:v>0.72746820696598746</c:v>
                      </c:pt>
                      <c:pt idx="14">
                        <c:v>0.75340303605839354</c:v>
                      </c:pt>
                      <c:pt idx="15">
                        <c:v>0.77686983985157021</c:v>
                      </c:pt>
                      <c:pt idx="16">
                        <c:v>0.79810348200534464</c:v>
                      </c:pt>
                      <c:pt idx="17">
                        <c:v>0.81731647594726542</c:v>
                      </c:pt>
                      <c:pt idx="18">
                        <c:v>0.83470111177841344</c:v>
                      </c:pt>
                      <c:pt idx="19">
                        <c:v>0.85043138077736491</c:v>
                      </c:pt>
                      <c:pt idx="20">
                        <c:v>0.8646647167633873</c:v>
                      </c:pt>
                      <c:pt idx="21">
                        <c:v>0.87754357174701814</c:v>
                      </c:pt>
                      <c:pt idx="22">
                        <c:v>0.8891968416376661</c:v>
                      </c:pt>
                      <c:pt idx="23">
                        <c:v>0.89974115627719631</c:v>
                      </c:pt>
                      <c:pt idx="24">
                        <c:v>0.90928204671058754</c:v>
                      </c:pt>
                      <c:pt idx="25">
                        <c:v>0.91791500137610116</c:v>
                      </c:pt>
                      <c:pt idx="26">
                        <c:v>0.92572642178566611</c:v>
                      </c:pt>
                    </c:numCache>
                  </c:numRef>
                </c:val>
                <c:smooth val="0"/>
                <c:extLst xmlns:c15="http://schemas.microsoft.com/office/drawing/2012/chart">
                  <c:ext xmlns:c16="http://schemas.microsoft.com/office/drawing/2014/chart" uri="{C3380CC4-5D6E-409C-BE32-E72D297353CC}">
                    <c16:uniqueId val="{00000002-91F8-4064-846B-5558B3954A30}"/>
                  </c:ext>
                </c:extLst>
              </c15:ser>
            </c15:filteredLineSeries>
            <c15:filteredLineSeries>
              <c15:ser>
                <c:idx val="4"/>
                <c:order val="3"/>
                <c:tx>
                  <c:strRef>
                    <c:extLst xmlns:c15="http://schemas.microsoft.com/office/drawing/2012/chart">
                      <c:ext xmlns:c15="http://schemas.microsoft.com/office/drawing/2012/chart" uri="{02D57815-91ED-43cb-92C2-25804820EDAC}">
                        <c15:formulaRef>
                          <c15:sqref>Transformation!$F$3</c15:sqref>
                        </c15:formulaRef>
                      </c:ext>
                    </c:extLst>
                    <c:strCache>
                      <c:ptCount val="1"/>
                      <c:pt idx="0">
                        <c:v>S Curve </c:v>
                      </c:pt>
                    </c:strCache>
                  </c:strRef>
                </c:tx>
                <c:spPr>
                  <a:ln w="28575"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Transformation!$B$4:$B$30</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cat>
                <c:val>
                  <c:numRef>
                    <c:extLst xmlns:c15="http://schemas.microsoft.com/office/drawing/2012/chart">
                      <c:ext xmlns:c15="http://schemas.microsoft.com/office/drawing/2012/chart" uri="{02D57815-91ED-43cb-92C2-25804820EDAC}">
                        <c15:formulaRef>
                          <c15:sqref>Transformation!$F$4:$F$30</c15:sqref>
                        </c15:formulaRef>
                      </c:ext>
                    </c:extLst>
                    <c:numCache>
                      <c:formatCode>#,##0</c:formatCode>
                      <c:ptCount val="27"/>
                      <c:pt idx="0">
                        <c:v>0</c:v>
                      </c:pt>
                      <c:pt idx="1">
                        <c:v>1.8</c:v>
                      </c:pt>
                      <c:pt idx="2">
                        <c:v>2.0699999999999998</c:v>
                      </c:pt>
                      <c:pt idx="3">
                        <c:v>2.31</c:v>
                      </c:pt>
                      <c:pt idx="4">
                        <c:v>2.5</c:v>
                      </c:pt>
                      <c:pt idx="5">
                        <c:v>2.64</c:v>
                      </c:pt>
                      <c:pt idx="6">
                        <c:v>2.75</c:v>
                      </c:pt>
                      <c:pt idx="7">
                        <c:v>2.83</c:v>
                      </c:pt>
                      <c:pt idx="8">
                        <c:v>2.88</c:v>
                      </c:pt>
                      <c:pt idx="9">
                        <c:v>2.92</c:v>
                      </c:pt>
                      <c:pt idx="10">
                        <c:v>2.95</c:v>
                      </c:pt>
                      <c:pt idx="11">
                        <c:v>2.96</c:v>
                      </c:pt>
                      <c:pt idx="12">
                        <c:v>2.98</c:v>
                      </c:pt>
                      <c:pt idx="13">
                        <c:v>2.98</c:v>
                      </c:pt>
                      <c:pt idx="14">
                        <c:v>2.99</c:v>
                      </c:pt>
                      <c:pt idx="15">
                        <c:v>2.99</c:v>
                      </c:pt>
                      <c:pt idx="16">
                        <c:v>3</c:v>
                      </c:pt>
                      <c:pt idx="17">
                        <c:v>3</c:v>
                      </c:pt>
                      <c:pt idx="18">
                        <c:v>3</c:v>
                      </c:pt>
                      <c:pt idx="19">
                        <c:v>3</c:v>
                      </c:pt>
                      <c:pt idx="20">
                        <c:v>3</c:v>
                      </c:pt>
                      <c:pt idx="21">
                        <c:v>3</c:v>
                      </c:pt>
                      <c:pt idx="22">
                        <c:v>3</c:v>
                      </c:pt>
                      <c:pt idx="23">
                        <c:v>3</c:v>
                      </c:pt>
                      <c:pt idx="24">
                        <c:v>3</c:v>
                      </c:pt>
                      <c:pt idx="25">
                        <c:v>3</c:v>
                      </c:pt>
                      <c:pt idx="26">
                        <c:v>3</c:v>
                      </c:pt>
                    </c:numCache>
                  </c:numRef>
                </c:val>
                <c:smooth val="0"/>
                <c:extLst xmlns:c15="http://schemas.microsoft.com/office/drawing/2012/chart">
                  <c:ext xmlns:c16="http://schemas.microsoft.com/office/drawing/2014/chart" uri="{C3380CC4-5D6E-409C-BE32-E72D297353CC}">
                    <c16:uniqueId val="{00000003-91F8-4064-846B-5558B3954A30}"/>
                  </c:ext>
                </c:extLst>
              </c15:ser>
            </c15:filteredLineSeries>
          </c:ext>
        </c:extLst>
      </c:lineChart>
      <c:catAx>
        <c:axId val="159574958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Promot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57903"/>
        <c:crosses val="autoZero"/>
        <c:auto val="1"/>
        <c:lblAlgn val="ctr"/>
        <c:lblOffset val="100"/>
        <c:noMultiLvlLbl val="0"/>
      </c:catAx>
      <c:valAx>
        <c:axId val="159575790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Impac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5749583"/>
        <c:crosses val="autoZero"/>
        <c:crossBetween val="between"/>
      </c:valAx>
      <c:spPr>
        <a:noFill/>
        <a:ln>
          <a:noFill/>
        </a:ln>
        <a:effectLst/>
      </c:spPr>
    </c:plotArea>
    <c:legend>
      <c:legendPos val="b"/>
      <c:layout>
        <c:manualLayout>
          <c:xMode val="edge"/>
          <c:yMode val="edge"/>
          <c:x val="0.10456074073897755"/>
          <c:y val="0.10228990424705983"/>
          <c:w val="0.53183562013778607"/>
          <c:h val="0.20827908762248867"/>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latin typeface="Arial" panose="020B0604020202020204" pitchFamily="34" charset="0"/>
                <a:cs typeface="Arial" panose="020B0604020202020204" pitchFamily="34" charset="0"/>
              </a:rPr>
              <a:t>Power</a:t>
            </a:r>
            <a:r>
              <a:rPr lang="en-US" b="1" baseline="0">
                <a:latin typeface="Arial" panose="020B0604020202020204" pitchFamily="34" charset="0"/>
                <a:cs typeface="Arial" panose="020B0604020202020204" pitchFamily="34" charset="0"/>
              </a:rPr>
              <a:t> Curves</a:t>
            </a:r>
            <a:endParaRPr lang="en-US" b="1">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strRef>
              <c:f>Transformation!$C$34</c:f>
              <c:strCache>
                <c:ptCount val="1"/>
                <c:pt idx="0">
                  <c:v>Power 0.1</c:v>
                </c:pt>
              </c:strCache>
            </c:strRef>
          </c:tx>
          <c:spPr>
            <a:ln w="19050" cap="rnd">
              <a:solidFill>
                <a:schemeClr val="accent1"/>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C$35:$C$61</c:f>
              <c:numCache>
                <c:formatCode>#,##0</c:formatCode>
                <c:ptCount val="27"/>
                <c:pt idx="0">
                  <c:v>0</c:v>
                </c:pt>
                <c:pt idx="1">
                  <c:v>1</c:v>
                </c:pt>
                <c:pt idx="2">
                  <c:v>1.0717734625362931</c:v>
                </c:pt>
                <c:pt idx="3">
                  <c:v>1.1161231740339044</c:v>
                </c:pt>
                <c:pt idx="4">
                  <c:v>1.1486983549970351</c:v>
                </c:pt>
                <c:pt idx="5">
                  <c:v>1.174618943088019</c:v>
                </c:pt>
                <c:pt idx="6">
                  <c:v>1.1962311988513155</c:v>
                </c:pt>
                <c:pt idx="7">
                  <c:v>1.2148140440390669</c:v>
                </c:pt>
                <c:pt idx="8">
                  <c:v>1.2311444133449163</c:v>
                </c:pt>
                <c:pt idx="9">
                  <c:v>1.2457309396155174</c:v>
                </c:pt>
                <c:pt idx="10">
                  <c:v>1.2589254117941673</c:v>
                </c:pt>
                <c:pt idx="11">
                  <c:v>1.2709816152101407</c:v>
                </c:pt>
                <c:pt idx="12">
                  <c:v>1.2820888539868154</c:v>
                </c:pt>
                <c:pt idx="13">
                  <c:v>1.2923922207808318</c:v>
                </c:pt>
                <c:pt idx="14">
                  <c:v>1.3020054543174677</c:v>
                </c:pt>
                <c:pt idx="15">
                  <c:v>1.3110194230397498</c:v>
                </c:pt>
                <c:pt idx="16">
                  <c:v>1.3195079107728942</c:v>
                </c:pt>
                <c:pt idx="17">
                  <c:v>1.3275316748885193</c:v>
                </c:pt>
                <c:pt idx="18">
                  <c:v>1.335141362540313</c:v>
                </c:pt>
                <c:pt idx="19">
                  <c:v>1.3423796509621049</c:v>
                </c:pt>
                <c:pt idx="20">
                  <c:v>1.3492828476735632</c:v>
                </c:pt>
                <c:pt idx="21">
                  <c:v>1.3558821066938467</c:v>
                </c:pt>
                <c:pt idx="22">
                  <c:v>1.3622043665537431</c:v>
                </c:pt>
                <c:pt idx="23">
                  <c:v>1.3682730833261529</c:v>
                </c:pt>
                <c:pt idx="24">
                  <c:v>1.3741088103166372</c:v>
                </c:pt>
                <c:pt idx="25">
                  <c:v>1.3797296614612149</c:v>
                </c:pt>
                <c:pt idx="26">
                  <c:v>1.3851516854212416</c:v>
                </c:pt>
              </c:numCache>
            </c:numRef>
          </c:yVal>
          <c:smooth val="1"/>
          <c:extLst>
            <c:ext xmlns:c16="http://schemas.microsoft.com/office/drawing/2014/chart" uri="{C3380CC4-5D6E-409C-BE32-E72D297353CC}">
              <c16:uniqueId val="{00000000-1D3B-4D8D-AB0F-92F2C38B8865}"/>
            </c:ext>
          </c:extLst>
        </c:ser>
        <c:ser>
          <c:idx val="3"/>
          <c:order val="3"/>
          <c:tx>
            <c:strRef>
              <c:f>Transformation!$F$34</c:f>
              <c:strCache>
                <c:ptCount val="1"/>
                <c:pt idx="0">
                  <c:v>Power 0.4</c:v>
                </c:pt>
              </c:strCache>
            </c:strRef>
          </c:tx>
          <c:spPr>
            <a:ln w="19050" cap="rnd">
              <a:solidFill>
                <a:schemeClr val="accent4"/>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F$35:$F$61</c:f>
              <c:numCache>
                <c:formatCode>#,##0</c:formatCode>
                <c:ptCount val="27"/>
                <c:pt idx="0">
                  <c:v>0</c:v>
                </c:pt>
                <c:pt idx="1">
                  <c:v>1</c:v>
                </c:pt>
                <c:pt idx="2">
                  <c:v>1.3195079107728942</c:v>
                </c:pt>
                <c:pt idx="3">
                  <c:v>1.5518455739153598</c:v>
                </c:pt>
                <c:pt idx="4">
                  <c:v>1.7411011265922482</c:v>
                </c:pt>
                <c:pt idx="5">
                  <c:v>1.9036539387158786</c:v>
                </c:pt>
                <c:pt idx="6">
                  <c:v>2.0476725110792193</c:v>
                </c:pt>
                <c:pt idx="7">
                  <c:v>2.1779064244827797</c:v>
                </c:pt>
                <c:pt idx="8">
                  <c:v>2.2973967099940702</c:v>
                </c:pt>
                <c:pt idx="9">
                  <c:v>2.4082246852806923</c:v>
                </c:pt>
                <c:pt idx="10">
                  <c:v>2.5118864315095806</c:v>
                </c:pt>
                <c:pt idx="11">
                  <c:v>2.6094986352788734</c:v>
                </c:pt>
                <c:pt idx="12">
                  <c:v>2.7019200770412271</c:v>
                </c:pt>
                <c:pt idx="13">
                  <c:v>2.7898274358890855</c:v>
                </c:pt>
                <c:pt idx="14">
                  <c:v>2.873764756028137</c:v>
                </c:pt>
                <c:pt idx="15">
                  <c:v>2.9541769390627772</c:v>
                </c:pt>
                <c:pt idx="16">
                  <c:v>3.031433133020796</c:v>
                </c:pt>
                <c:pt idx="17">
                  <c:v>3.1058435015977324</c:v>
                </c:pt>
                <c:pt idx="18">
                  <c:v>3.1776715231464365</c:v>
                </c:pt>
                <c:pt idx="19">
                  <c:v>3.2471431911356685</c:v>
                </c:pt>
                <c:pt idx="20">
                  <c:v>3.3144540173399868</c:v>
                </c:pt>
                <c:pt idx="21">
                  <c:v>3.3797744452354288</c:v>
                </c:pt>
                <c:pt idx="22">
                  <c:v>3.4432540924015456</c:v>
                </c:pt>
                <c:pt idx="23">
                  <c:v>3.5050251165172894</c:v>
                </c:pt>
                <c:pt idx="24">
                  <c:v>3.5652049159320072</c:v>
                </c:pt>
                <c:pt idx="25">
                  <c:v>3.6238983183884779</c:v>
                </c:pt>
                <c:pt idx="26">
                  <c:v>3.6811993713469082</c:v>
                </c:pt>
              </c:numCache>
            </c:numRef>
          </c:yVal>
          <c:smooth val="1"/>
          <c:extLst>
            <c:ext xmlns:c16="http://schemas.microsoft.com/office/drawing/2014/chart" uri="{C3380CC4-5D6E-409C-BE32-E72D297353CC}">
              <c16:uniqueId val="{00000003-1D3B-4D8D-AB0F-92F2C38B8865}"/>
            </c:ext>
          </c:extLst>
        </c:ser>
        <c:ser>
          <c:idx val="4"/>
          <c:order val="4"/>
          <c:tx>
            <c:strRef>
              <c:f>Transformation!$G$34</c:f>
              <c:strCache>
                <c:ptCount val="1"/>
                <c:pt idx="0">
                  <c:v>Power 0.5</c:v>
                </c:pt>
              </c:strCache>
            </c:strRef>
          </c:tx>
          <c:spPr>
            <a:ln w="19050" cap="rnd">
              <a:solidFill>
                <a:schemeClr val="accent5"/>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G$35:$G$61</c:f>
              <c:numCache>
                <c:formatCode>#,##0</c:formatCode>
                <c:ptCount val="27"/>
                <c:pt idx="0">
                  <c:v>0</c:v>
                </c:pt>
                <c:pt idx="1">
                  <c:v>1</c:v>
                </c:pt>
                <c:pt idx="2">
                  <c:v>1.4142135623730951</c:v>
                </c:pt>
                <c:pt idx="3">
                  <c:v>1.7320508075688772</c:v>
                </c:pt>
                <c:pt idx="4">
                  <c:v>2</c:v>
                </c:pt>
                <c:pt idx="5">
                  <c:v>2.2360679774997898</c:v>
                </c:pt>
                <c:pt idx="6">
                  <c:v>2.4494897427831779</c:v>
                </c:pt>
                <c:pt idx="7">
                  <c:v>2.6457513110645907</c:v>
                </c:pt>
                <c:pt idx="8">
                  <c:v>2.8284271247461903</c:v>
                </c:pt>
                <c:pt idx="9">
                  <c:v>3</c:v>
                </c:pt>
                <c:pt idx="10">
                  <c:v>3.1622776601683795</c:v>
                </c:pt>
                <c:pt idx="11">
                  <c:v>3.3166247903553998</c:v>
                </c:pt>
                <c:pt idx="12">
                  <c:v>3.4641016151377544</c:v>
                </c:pt>
                <c:pt idx="13">
                  <c:v>3.6055512754639891</c:v>
                </c:pt>
                <c:pt idx="14">
                  <c:v>3.7416573867739413</c:v>
                </c:pt>
                <c:pt idx="15">
                  <c:v>3.872983346207417</c:v>
                </c:pt>
                <c:pt idx="16">
                  <c:v>4</c:v>
                </c:pt>
                <c:pt idx="17">
                  <c:v>4.1231056256176606</c:v>
                </c:pt>
                <c:pt idx="18">
                  <c:v>4.2426406871192848</c:v>
                </c:pt>
                <c:pt idx="19">
                  <c:v>4.358898943540674</c:v>
                </c:pt>
                <c:pt idx="20">
                  <c:v>4.4721359549995796</c:v>
                </c:pt>
                <c:pt idx="21">
                  <c:v>4.5825756949558398</c:v>
                </c:pt>
                <c:pt idx="22">
                  <c:v>4.6904157598234297</c:v>
                </c:pt>
                <c:pt idx="23">
                  <c:v>4.7958315233127191</c:v>
                </c:pt>
                <c:pt idx="24">
                  <c:v>4.8989794855663558</c:v>
                </c:pt>
                <c:pt idx="25">
                  <c:v>5</c:v>
                </c:pt>
                <c:pt idx="26">
                  <c:v>5.0990195135927845</c:v>
                </c:pt>
              </c:numCache>
            </c:numRef>
          </c:yVal>
          <c:smooth val="1"/>
          <c:extLst>
            <c:ext xmlns:c16="http://schemas.microsoft.com/office/drawing/2014/chart" uri="{C3380CC4-5D6E-409C-BE32-E72D297353CC}">
              <c16:uniqueId val="{00000004-1D3B-4D8D-AB0F-92F2C38B8865}"/>
            </c:ext>
          </c:extLst>
        </c:ser>
        <c:ser>
          <c:idx val="5"/>
          <c:order val="5"/>
          <c:tx>
            <c:strRef>
              <c:f>Transformation!$H$34</c:f>
              <c:strCache>
                <c:ptCount val="1"/>
                <c:pt idx="0">
                  <c:v>Power 0.6</c:v>
                </c:pt>
              </c:strCache>
            </c:strRef>
          </c:tx>
          <c:spPr>
            <a:ln w="19050" cap="rnd">
              <a:solidFill>
                <a:schemeClr val="accent6"/>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H$35:$H$61</c:f>
              <c:numCache>
                <c:formatCode>#,##0</c:formatCode>
                <c:ptCount val="27"/>
                <c:pt idx="0">
                  <c:v>0</c:v>
                </c:pt>
                <c:pt idx="1">
                  <c:v>1</c:v>
                </c:pt>
                <c:pt idx="2">
                  <c:v>1.515716566510398</c:v>
                </c:pt>
                <c:pt idx="3">
                  <c:v>1.9331820449317627</c:v>
                </c:pt>
                <c:pt idx="4">
                  <c:v>2.2973967099940702</c:v>
                </c:pt>
                <c:pt idx="5">
                  <c:v>2.626527804403767</c:v>
                </c:pt>
                <c:pt idx="6">
                  <c:v>2.9301560515835212</c:v>
                </c:pt>
                <c:pt idx="7">
                  <c:v>3.2140958497160383</c:v>
                </c:pt>
                <c:pt idx="8">
                  <c:v>3.4822022531844965</c:v>
                </c:pt>
                <c:pt idx="9">
                  <c:v>3.7371928188465522</c:v>
                </c:pt>
                <c:pt idx="10">
                  <c:v>3.9810717055349727</c:v>
                </c:pt>
                <c:pt idx="11">
                  <c:v>4.2153691330919001</c:v>
                </c:pt>
                <c:pt idx="12">
                  <c:v>4.4412860698458401</c:v>
                </c:pt>
                <c:pt idx="13">
                  <c:v>4.6597864200360659</c:v>
                </c:pt>
                <c:pt idx="14">
                  <c:v>4.8716583257669139</c:v>
                </c:pt>
                <c:pt idx="15">
                  <c:v>5.0775563919874074</c:v>
                </c:pt>
                <c:pt idx="16">
                  <c:v>5.2780316430915768</c:v>
                </c:pt>
                <c:pt idx="17">
                  <c:v>5.4735533169184887</c:v>
                </c:pt>
                <c:pt idx="18">
                  <c:v>5.6645250677694108</c:v>
                </c:pt>
                <c:pt idx="19">
                  <c:v>5.8512972424092151</c:v>
                </c:pt>
                <c:pt idx="20">
                  <c:v>6.0341763365451619</c:v>
                </c:pt>
                <c:pt idx="21">
                  <c:v>6.2134323873607427</c:v>
                </c:pt>
                <c:pt idx="22">
                  <c:v>6.3893048289839678</c:v>
                </c:pt>
                <c:pt idx="23">
                  <c:v>6.5620071855158546</c:v>
                </c:pt>
                <c:pt idx="24">
                  <c:v>6.7317308726771969</c:v>
                </c:pt>
                <c:pt idx="25">
                  <c:v>6.8986483073060727</c:v>
                </c:pt>
                <c:pt idx="26">
                  <c:v>7.0629154732488457</c:v>
                </c:pt>
              </c:numCache>
            </c:numRef>
          </c:yVal>
          <c:smooth val="1"/>
          <c:extLst>
            <c:ext xmlns:c16="http://schemas.microsoft.com/office/drawing/2014/chart" uri="{C3380CC4-5D6E-409C-BE32-E72D297353CC}">
              <c16:uniqueId val="{00000005-1D3B-4D8D-AB0F-92F2C38B8865}"/>
            </c:ext>
          </c:extLst>
        </c:ser>
        <c:ser>
          <c:idx val="6"/>
          <c:order val="6"/>
          <c:tx>
            <c:strRef>
              <c:f>Transformation!$I$34</c:f>
              <c:strCache>
                <c:ptCount val="1"/>
                <c:pt idx="0">
                  <c:v>Power 0.7</c:v>
                </c:pt>
              </c:strCache>
            </c:strRef>
          </c:tx>
          <c:spPr>
            <a:ln w="19050" cap="rnd">
              <a:solidFill>
                <a:schemeClr val="accent1">
                  <a:lumMod val="60000"/>
                </a:schemeClr>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I$35:$I$61</c:f>
              <c:numCache>
                <c:formatCode>#,##0</c:formatCode>
                <c:ptCount val="27"/>
                <c:pt idx="0">
                  <c:v>0</c:v>
                </c:pt>
                <c:pt idx="1">
                  <c:v>1</c:v>
                </c:pt>
                <c:pt idx="2">
                  <c:v>1.6245047927124709</c:v>
                </c:pt>
                <c:pt idx="3">
                  <c:v>2.1576692799745931</c:v>
                </c:pt>
                <c:pt idx="4">
                  <c:v>2.6390158215457884</c:v>
                </c:pt>
                <c:pt idx="5">
                  <c:v>3.0851693136000478</c:v>
                </c:pt>
                <c:pt idx="6">
                  <c:v>3.5051440864071925</c:v>
                </c:pt>
                <c:pt idx="7">
                  <c:v>3.9045287771227213</c:v>
                </c:pt>
                <c:pt idx="8">
                  <c:v>4.2870938501451716</c:v>
                </c:pt>
                <c:pt idx="9">
                  <c:v>4.6555367217460786</c:v>
                </c:pt>
                <c:pt idx="10">
                  <c:v>5.0118723362727229</c:v>
                </c:pt>
                <c:pt idx="11">
                  <c:v>5.3576566694841139</c:v>
                </c:pt>
                <c:pt idx="12">
                  <c:v>5.6941233675162604</c:v>
                </c:pt>
                <c:pt idx="13">
                  <c:v>6.0222717197547722</c:v>
                </c:pt>
                <c:pt idx="14">
                  <c:v>6.3429257117196238</c:v>
                </c:pt>
                <c:pt idx="15">
                  <c:v>6.6567750514751243</c:v>
                </c:pt>
                <c:pt idx="16">
                  <c:v>6.9644045063689921</c:v>
                </c:pt>
                <c:pt idx="17">
                  <c:v>7.2663154024004104</c:v>
                </c:pt>
                <c:pt idx="18">
                  <c:v>7.5629417171254092</c:v>
                </c:pt>
                <c:pt idx="19">
                  <c:v>7.8546623499408081</c:v>
                </c:pt>
                <c:pt idx="20">
                  <c:v>8.1418106307380835</c:v>
                </c:pt>
                <c:pt idx="21">
                  <c:v>8.4246817951744593</c:v>
                </c:pt>
                <c:pt idx="22">
                  <c:v>8.7035389372848773</c:v>
                </c:pt>
                <c:pt idx="23">
                  <c:v>8.9786178045341494</c:v>
                </c:pt>
                <c:pt idx="24">
                  <c:v>9.2501307008262419</c:v>
                </c:pt>
                <c:pt idx="25">
                  <c:v>9.5182696935793913</c:v>
                </c:pt>
                <c:pt idx="26">
                  <c:v>9.7832092717584036</c:v>
                </c:pt>
              </c:numCache>
            </c:numRef>
          </c:yVal>
          <c:smooth val="1"/>
          <c:extLst>
            <c:ext xmlns:c16="http://schemas.microsoft.com/office/drawing/2014/chart" uri="{C3380CC4-5D6E-409C-BE32-E72D297353CC}">
              <c16:uniqueId val="{00000006-1D3B-4D8D-AB0F-92F2C38B8865}"/>
            </c:ext>
          </c:extLst>
        </c:ser>
        <c:ser>
          <c:idx val="7"/>
          <c:order val="7"/>
          <c:tx>
            <c:strRef>
              <c:f>Transformation!$J$34</c:f>
              <c:strCache>
                <c:ptCount val="1"/>
                <c:pt idx="0">
                  <c:v>Power 0.8</c:v>
                </c:pt>
              </c:strCache>
            </c:strRef>
          </c:tx>
          <c:spPr>
            <a:ln w="19050" cap="rnd">
              <a:solidFill>
                <a:schemeClr val="accent2">
                  <a:lumMod val="60000"/>
                </a:schemeClr>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J$35:$J$61</c:f>
              <c:numCache>
                <c:formatCode>#,##0</c:formatCode>
                <c:ptCount val="27"/>
                <c:pt idx="0">
                  <c:v>0</c:v>
                </c:pt>
                <c:pt idx="1">
                  <c:v>1</c:v>
                </c:pt>
                <c:pt idx="2">
                  <c:v>1.7411011265922482</c:v>
                </c:pt>
                <c:pt idx="3">
                  <c:v>2.4082246852806923</c:v>
                </c:pt>
                <c:pt idx="4">
                  <c:v>3.031433133020796</c:v>
                </c:pt>
                <c:pt idx="5">
                  <c:v>3.6238983183884779</c:v>
                </c:pt>
                <c:pt idx="6">
                  <c:v>4.192962712629476</c:v>
                </c:pt>
                <c:pt idx="7">
                  <c:v>4.7432763938033666</c:v>
                </c:pt>
                <c:pt idx="8">
                  <c:v>5.2780316430915768</c:v>
                </c:pt>
                <c:pt idx="9">
                  <c:v>5.7995461347952899</c:v>
                </c:pt>
                <c:pt idx="10">
                  <c:v>6.3095734448019343</c:v>
                </c:pt>
                <c:pt idx="11">
                  <c:v>6.8094831275223022</c:v>
                </c:pt>
                <c:pt idx="12">
                  <c:v>7.3003721027184696</c:v>
                </c:pt>
                <c:pt idx="13">
                  <c:v>7.7831371220394709</c:v>
                </c:pt>
                <c:pt idx="14">
                  <c:v>8.2585238729894588</c:v>
                </c:pt>
                <c:pt idx="15">
                  <c:v>8.7271613872903213</c:v>
                </c:pt>
                <c:pt idx="16">
                  <c:v>9.189586839976279</c:v>
                </c:pt>
                <c:pt idx="17">
                  <c:v>9.6462638564168639</c:v>
                </c:pt>
                <c:pt idx="18">
                  <c:v>10.097596309015795</c:v>
                </c:pt>
                <c:pt idx="19">
                  <c:v>10.543938903738731</c:v>
                </c:pt>
                <c:pt idx="20">
                  <c:v>10.985605433061178</c:v>
                </c:pt>
                <c:pt idx="21">
                  <c:v>11.422875300666449</c:v>
                </c:pt>
                <c:pt idx="22">
                  <c:v>11.85599874483999</c:v>
                </c:pt>
                <c:pt idx="23">
                  <c:v>12.285201067417038</c:v>
                </c:pt>
                <c:pt idx="24">
                  <c:v>12.710686092585751</c:v>
                </c:pt>
                <c:pt idx="25">
                  <c:v>13.132639022018838</c:v>
                </c:pt>
                <c:pt idx="26">
                  <c:v>13.551228811604872</c:v>
                </c:pt>
              </c:numCache>
            </c:numRef>
          </c:yVal>
          <c:smooth val="1"/>
          <c:extLst>
            <c:ext xmlns:c16="http://schemas.microsoft.com/office/drawing/2014/chart" uri="{C3380CC4-5D6E-409C-BE32-E72D297353CC}">
              <c16:uniqueId val="{00000007-1D3B-4D8D-AB0F-92F2C38B8865}"/>
            </c:ext>
          </c:extLst>
        </c:ser>
        <c:ser>
          <c:idx val="8"/>
          <c:order val="8"/>
          <c:tx>
            <c:strRef>
              <c:f>Transformation!$K$34</c:f>
              <c:strCache>
                <c:ptCount val="1"/>
                <c:pt idx="0">
                  <c:v>Power 0.9</c:v>
                </c:pt>
              </c:strCache>
            </c:strRef>
          </c:tx>
          <c:spPr>
            <a:ln w="19050" cap="rnd">
              <a:solidFill>
                <a:schemeClr val="accent3">
                  <a:lumMod val="60000"/>
                </a:schemeClr>
              </a:solidFill>
              <a:round/>
            </a:ln>
            <a:effectLst/>
          </c:spPr>
          <c:marker>
            <c:symbol val="none"/>
          </c:marker>
          <c:xVal>
            <c:numRef>
              <c:f>Transformation!$B$35:$B$61</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Transformation!$K$35:$K$61</c:f>
              <c:numCache>
                <c:formatCode>#,##0</c:formatCode>
                <c:ptCount val="27"/>
                <c:pt idx="0">
                  <c:v>0</c:v>
                </c:pt>
                <c:pt idx="1">
                  <c:v>1</c:v>
                </c:pt>
                <c:pt idx="2">
                  <c:v>1.8660659830736148</c:v>
                </c:pt>
                <c:pt idx="3">
                  <c:v>2.6878753795222869</c:v>
                </c:pt>
                <c:pt idx="4">
                  <c:v>3.4822022531844965</c:v>
                </c:pt>
                <c:pt idx="5">
                  <c:v>4.2566996126039234</c:v>
                </c:pt>
                <c:pt idx="6">
                  <c:v>5.0157528124676221</c:v>
                </c:pt>
                <c:pt idx="7">
                  <c:v>5.7621987779513102</c:v>
                </c:pt>
                <c:pt idx="8">
                  <c:v>6.4980191708498829</c:v>
                </c:pt>
                <c:pt idx="9">
                  <c:v>7.2246740558420779</c:v>
                </c:pt>
                <c:pt idx="10">
                  <c:v>7.9432823472428176</c:v>
                </c:pt>
                <c:pt idx="11">
                  <c:v>8.654727864164494</c:v>
                </c:pt>
                <c:pt idx="12">
                  <c:v>9.359725702851641</c:v>
                </c:pt>
                <c:pt idx="13">
                  <c:v>10.058865869794326</c:v>
                </c:pt>
                <c:pt idx="14">
                  <c:v>10.752643127243289</c:v>
                </c:pt>
                <c:pt idx="15">
                  <c:v>11.441478086740142</c:v>
                </c:pt>
                <c:pt idx="16">
                  <c:v>12.125732532083184</c:v>
                </c:pt>
                <c:pt idx="17">
                  <c:v>12.805720813725667</c:v>
                </c:pt>
                <c:pt idx="18">
                  <c:v>13.481718494401385</c:v>
                </c:pt>
                <c:pt idx="19">
                  <c:v>14.153969025366555</c:v>
                </c:pt>
                <c:pt idx="20">
                  <c:v>14.822688982138953</c:v>
                </c:pt>
                <c:pt idx="21">
                  <c:v>15.488072227168733</c:v>
                </c:pt>
                <c:pt idx="22">
                  <c:v>16.150293260076726</c:v>
                </c:pt>
                <c:pt idx="23">
                  <c:v>16.809509943796453</c:v>
                </c:pt>
                <c:pt idx="24">
                  <c:v>17.46586574499123</c:v>
                </c:pt>
                <c:pt idx="25">
                  <c:v>18.119491591942388</c:v>
                </c:pt>
                <c:pt idx="26">
                  <c:v>18.770507427923384</c:v>
                </c:pt>
              </c:numCache>
            </c:numRef>
          </c:yVal>
          <c:smooth val="1"/>
          <c:extLst>
            <c:ext xmlns:c16="http://schemas.microsoft.com/office/drawing/2014/chart" uri="{C3380CC4-5D6E-409C-BE32-E72D297353CC}">
              <c16:uniqueId val="{00000008-1D3B-4D8D-AB0F-92F2C38B8865}"/>
            </c:ext>
          </c:extLst>
        </c:ser>
        <c:dLbls>
          <c:showLegendKey val="0"/>
          <c:showVal val="0"/>
          <c:showCatName val="0"/>
          <c:showSerName val="0"/>
          <c:showPercent val="0"/>
          <c:showBubbleSize val="0"/>
        </c:dLbls>
        <c:axId val="1046057599"/>
        <c:axId val="1046072159"/>
        <c:extLst>
          <c:ext xmlns:c15="http://schemas.microsoft.com/office/drawing/2012/chart" uri="{02D57815-91ED-43cb-92C2-25804820EDAC}">
            <c15:filteredScatterSeries>
              <c15:ser>
                <c:idx val="1"/>
                <c:order val="1"/>
                <c:tx>
                  <c:strRef>
                    <c:extLst>
                      <c:ext uri="{02D57815-91ED-43cb-92C2-25804820EDAC}">
                        <c15:formulaRef>
                          <c15:sqref>Transformation!$D$34</c15:sqref>
                        </c15:formulaRef>
                      </c:ext>
                    </c:extLst>
                    <c:strCache>
                      <c:ptCount val="1"/>
                      <c:pt idx="0">
                        <c:v>Power 0.2</c:v>
                      </c:pt>
                    </c:strCache>
                  </c:strRef>
                </c:tx>
                <c:spPr>
                  <a:ln w="19050" cap="rnd">
                    <a:solidFill>
                      <a:schemeClr val="accent2"/>
                    </a:solidFill>
                    <a:round/>
                  </a:ln>
                  <a:effectLst/>
                </c:spPr>
                <c:marker>
                  <c:symbol val="none"/>
                </c:marker>
                <c:xVal>
                  <c:numRef>
                    <c:extLst>
                      <c:ext uri="{02D57815-91ED-43cb-92C2-25804820EDAC}">
                        <c15:formulaRef>
                          <c15:sqref>Transformation!$B$35:$B$61</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extLst>
                      <c:ext uri="{02D57815-91ED-43cb-92C2-25804820EDAC}">
                        <c15:formulaRef>
                          <c15:sqref>Transformation!$D$35:$D$61</c15:sqref>
                        </c15:formulaRef>
                      </c:ext>
                    </c:extLst>
                    <c:numCache>
                      <c:formatCode>#,##0</c:formatCode>
                      <c:ptCount val="27"/>
                      <c:pt idx="0">
                        <c:v>0</c:v>
                      </c:pt>
                      <c:pt idx="1">
                        <c:v>1</c:v>
                      </c:pt>
                      <c:pt idx="2">
                        <c:v>1.1486983549970351</c:v>
                      </c:pt>
                      <c:pt idx="3">
                        <c:v>1.2457309396155174</c:v>
                      </c:pt>
                      <c:pt idx="4">
                        <c:v>1.3195079107728942</c:v>
                      </c:pt>
                      <c:pt idx="5">
                        <c:v>1.3797296614612149</c:v>
                      </c:pt>
                      <c:pt idx="6">
                        <c:v>1.4309690811052556</c:v>
                      </c:pt>
                      <c:pt idx="7">
                        <c:v>1.475773161594552</c:v>
                      </c:pt>
                      <c:pt idx="8">
                        <c:v>1.515716566510398</c:v>
                      </c:pt>
                      <c:pt idx="9">
                        <c:v>1.5518455739153598</c:v>
                      </c:pt>
                      <c:pt idx="10">
                        <c:v>1.5848931924611136</c:v>
                      </c:pt>
                      <c:pt idx="11">
                        <c:v>1.6153942662021781</c:v>
                      </c:pt>
                      <c:pt idx="12">
                        <c:v>1.6437518295172258</c:v>
                      </c:pt>
                      <c:pt idx="13">
                        <c:v>1.6702776523348104</c:v>
                      </c:pt>
                      <c:pt idx="14">
                        <c:v>1.6952182030724354</c:v>
                      </c:pt>
                      <c:pt idx="15">
                        <c:v>1.7187719275874789</c:v>
                      </c:pt>
                      <c:pt idx="16">
                        <c:v>1.7411011265922482</c:v>
                      </c:pt>
                      <c:pt idx="17">
                        <c:v>1.7623403478323172</c:v>
                      </c:pt>
                      <c:pt idx="18">
                        <c:v>1.7826024579660034</c:v>
                      </c:pt>
                      <c:pt idx="19">
                        <c:v>1.8019831273171423</c:v>
                      </c:pt>
                      <c:pt idx="20">
                        <c:v>1.8205642030260802</c:v>
                      </c:pt>
                      <c:pt idx="21">
                        <c:v>1.838416287252544</c:v>
                      </c:pt>
                      <c:pt idx="22">
                        <c:v>1.8556007362580846</c:v>
                      </c:pt>
                      <c:pt idx="23">
                        <c:v>1.8721712305548575</c:v>
                      </c:pt>
                      <c:pt idx="24">
                        <c:v>1.8881750225898042</c:v>
                      </c:pt>
                      <c:pt idx="25">
                        <c:v>1.9036539387158786</c:v>
                      </c:pt>
                      <c:pt idx="26">
                        <c:v>1.9186451916253062</c:v>
                      </c:pt>
                    </c:numCache>
                  </c:numRef>
                </c:yVal>
                <c:smooth val="1"/>
                <c:extLst>
                  <c:ext xmlns:c16="http://schemas.microsoft.com/office/drawing/2014/chart" uri="{C3380CC4-5D6E-409C-BE32-E72D297353CC}">
                    <c16:uniqueId val="{00000001-1D3B-4D8D-AB0F-92F2C38B8865}"/>
                  </c:ext>
                </c:extLst>
              </c15:ser>
            </c15:filteredScatterSeries>
            <c15:filteredScatterSeries>
              <c15:ser>
                <c:idx val="2"/>
                <c:order val="2"/>
                <c:tx>
                  <c:strRef>
                    <c:extLst xmlns:c15="http://schemas.microsoft.com/office/drawing/2012/chart">
                      <c:ext xmlns:c15="http://schemas.microsoft.com/office/drawing/2012/chart" uri="{02D57815-91ED-43cb-92C2-25804820EDAC}">
                        <c15:formulaRef>
                          <c15:sqref>Transformation!$E$34</c15:sqref>
                        </c15:formulaRef>
                      </c:ext>
                    </c:extLst>
                    <c:strCache>
                      <c:ptCount val="1"/>
                      <c:pt idx="0">
                        <c:v>Power 0.3</c:v>
                      </c:pt>
                    </c:strCache>
                  </c:strRef>
                </c:tx>
                <c:spPr>
                  <a:ln w="19050" cap="rnd">
                    <a:solidFill>
                      <a:schemeClr val="accent3"/>
                    </a:solidFill>
                    <a:round/>
                  </a:ln>
                  <a:effectLst/>
                </c:spPr>
                <c:marker>
                  <c:symbol val="none"/>
                </c:marker>
                <c:xVal>
                  <c:numRef>
                    <c:extLst xmlns:c15="http://schemas.microsoft.com/office/drawing/2012/chart">
                      <c:ext xmlns:c15="http://schemas.microsoft.com/office/drawing/2012/chart" uri="{02D57815-91ED-43cb-92C2-25804820EDAC}">
                        <c15:formulaRef>
                          <c15:sqref>Transformation!$B$35:$B$61</c15:sqref>
                        </c15:formulaRef>
                      </c:ext>
                    </c:extLst>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extLst xmlns:c15="http://schemas.microsoft.com/office/drawing/2012/chart">
                      <c:ext xmlns:c15="http://schemas.microsoft.com/office/drawing/2012/chart" uri="{02D57815-91ED-43cb-92C2-25804820EDAC}">
                        <c15:formulaRef>
                          <c15:sqref>Transformation!$E$35:$E$61</c15:sqref>
                        </c15:formulaRef>
                      </c:ext>
                    </c:extLst>
                    <c:numCache>
                      <c:formatCode>#,##0</c:formatCode>
                      <c:ptCount val="27"/>
                      <c:pt idx="0">
                        <c:v>0</c:v>
                      </c:pt>
                      <c:pt idx="1">
                        <c:v>1</c:v>
                      </c:pt>
                      <c:pt idx="2">
                        <c:v>1.2311444133449163</c:v>
                      </c:pt>
                      <c:pt idx="3">
                        <c:v>1.3903891703159093</c:v>
                      </c:pt>
                      <c:pt idx="4">
                        <c:v>1.515716566510398</c:v>
                      </c:pt>
                      <c:pt idx="5">
                        <c:v>1.6206565966927624</c:v>
                      </c:pt>
                      <c:pt idx="6">
                        <c:v>1.7117698594097051</c:v>
                      </c:pt>
                      <c:pt idx="7">
                        <c:v>1.7927899625209971</c:v>
                      </c:pt>
                      <c:pt idx="8">
                        <c:v>1.8660659830736148</c:v>
                      </c:pt>
                      <c:pt idx="9">
                        <c:v>1.9331820449317627</c:v>
                      </c:pt>
                      <c:pt idx="10">
                        <c:v>1.9952623149688797</c:v>
                      </c:pt>
                      <c:pt idx="11">
                        <c:v>2.0531364136588439</c:v>
                      </c:pt>
                      <c:pt idx="12">
                        <c:v>2.1074358993444711</c:v>
                      </c:pt>
                      <c:pt idx="13">
                        <c:v>2.1586538444215799</c:v>
                      </c:pt>
                      <c:pt idx="14">
                        <c:v>2.2071833466585673</c:v>
                      </c:pt>
                      <c:pt idx="15">
                        <c:v>2.2533433808426553</c:v>
                      </c:pt>
                      <c:pt idx="16">
                        <c:v>2.2973967099940702</c:v>
                      </c:pt>
                      <c:pt idx="17">
                        <c:v>2.3395626336814512</c:v>
                      </c:pt>
                      <c:pt idx="18">
                        <c:v>2.3800262745964407</c:v>
                      </c:pt>
                      <c:pt idx="19">
                        <c:v>2.4189454814875875</c:v>
                      </c:pt>
                      <c:pt idx="20">
                        <c:v>2.4564560522315806</c:v>
                      </c:pt>
                      <c:pt idx="21">
                        <c:v>2.4926757485402593</c:v>
                      </c:pt>
                      <c:pt idx="22">
                        <c:v>2.5277074255111032</c:v>
                      </c:pt>
                      <c:pt idx="23">
                        <c:v>2.5616415021458128</c:v>
                      </c:pt>
                      <c:pt idx="24">
                        <c:v>2.594557933960465</c:v>
                      </c:pt>
                      <c:pt idx="25">
                        <c:v>2.626527804403767</c:v>
                      </c:pt>
                      <c:pt idx="26">
                        <c:v>2.6576146209051541</c:v>
                      </c:pt>
                    </c:numCache>
                  </c:numRef>
                </c:yVal>
                <c:smooth val="1"/>
                <c:extLst xmlns:c15="http://schemas.microsoft.com/office/drawing/2012/chart">
                  <c:ext xmlns:c16="http://schemas.microsoft.com/office/drawing/2014/chart" uri="{C3380CC4-5D6E-409C-BE32-E72D297353CC}">
                    <c16:uniqueId val="{00000002-1D3B-4D8D-AB0F-92F2C38B8865}"/>
                  </c:ext>
                </c:extLst>
              </c15:ser>
            </c15:filteredScatterSeries>
          </c:ext>
        </c:extLst>
      </c:scatterChart>
      <c:valAx>
        <c:axId val="1046057599"/>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6072159"/>
        <c:crosses val="autoZero"/>
        <c:crossBetween val="midCat"/>
        <c:majorUnit val="1"/>
      </c:valAx>
      <c:valAx>
        <c:axId val="104607215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6057599"/>
        <c:crosses val="autoZero"/>
        <c:crossBetween val="midCat"/>
      </c:valAx>
      <c:spPr>
        <a:noFill/>
        <a:ln>
          <a:noFill/>
        </a:ln>
        <a:effectLst/>
      </c:spPr>
    </c:plotArea>
    <c:legend>
      <c:legendPos val="b"/>
      <c:layout>
        <c:manualLayout>
          <c:xMode val="edge"/>
          <c:yMode val="edge"/>
          <c:x val="6.8691430335031833E-2"/>
          <c:y val="8.7621112346296159E-2"/>
          <c:w val="0.41157528875092902"/>
          <c:h val="0.31067197643690053"/>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Invention" panose="020B050302000802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Invention" panose="020B0503020008020204" pitchFamily="34" charset="0"/>
              </a:defRPr>
            </a:lvl1pPr>
          </a:lstStyle>
          <a:p>
            <a:fld id="{9666AB04-16FE-4906-B5AE-BFF797B8155A}" type="datetimeFigureOut">
              <a:rPr lang="en-GB" smtClean="0"/>
              <a:pPr/>
              <a:t>24/09/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Invention" panose="020B0503020008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Invention" panose="020B0503020008020204" pitchFamily="34" charset="0"/>
              </a:defRPr>
            </a:lvl1pPr>
          </a:lstStyle>
          <a:p>
            <a:fld id="{A2DD403B-0F6A-4C1F-AE63-FA1FF361F76A}" type="slidenum">
              <a:rPr lang="en-GB" smtClean="0"/>
              <a:pPr/>
              <a:t>‹#›</a:t>
            </a:fld>
            <a:endParaRPr lang="en-GB" dirty="0"/>
          </a:p>
        </p:txBody>
      </p:sp>
    </p:spTree>
    <p:extLst>
      <p:ext uri="{BB962C8B-B14F-4D97-AF65-F5344CB8AC3E}">
        <p14:creationId xmlns:p14="http://schemas.microsoft.com/office/powerpoint/2010/main" val="1009425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nvention" panose="020B0503020008020204" pitchFamily="34" charset="0"/>
        <a:ea typeface="+mn-ea"/>
        <a:cs typeface="+mn-cs"/>
      </a:defRPr>
    </a:lvl1pPr>
    <a:lvl2pPr marL="457200" algn="l" defTabSz="914400" rtl="0" eaLnBrk="1" latinLnBrk="0" hangingPunct="1">
      <a:defRPr sz="1200" b="0" i="0" kern="1200">
        <a:solidFill>
          <a:schemeClr val="tx1"/>
        </a:solidFill>
        <a:latin typeface="Invention" panose="020B0503020008020204" pitchFamily="34" charset="0"/>
        <a:ea typeface="+mn-ea"/>
        <a:cs typeface="+mn-cs"/>
      </a:defRPr>
    </a:lvl2pPr>
    <a:lvl3pPr marL="914400" algn="l" defTabSz="914400" rtl="0" eaLnBrk="1" latinLnBrk="0" hangingPunct="1">
      <a:defRPr sz="1200" b="0" i="0" kern="1200">
        <a:solidFill>
          <a:schemeClr val="tx1"/>
        </a:solidFill>
        <a:latin typeface="Invention" panose="020B0503020008020204" pitchFamily="34" charset="0"/>
        <a:ea typeface="+mn-ea"/>
        <a:cs typeface="+mn-cs"/>
      </a:defRPr>
    </a:lvl3pPr>
    <a:lvl4pPr marL="1371600" algn="l" defTabSz="914400" rtl="0" eaLnBrk="1" latinLnBrk="0" hangingPunct="1">
      <a:defRPr sz="1200" b="0" i="0" kern="1200">
        <a:solidFill>
          <a:schemeClr val="tx1"/>
        </a:solidFill>
        <a:latin typeface="Invention" panose="020B0503020008020204" pitchFamily="34" charset="0"/>
        <a:ea typeface="+mn-ea"/>
        <a:cs typeface="+mn-cs"/>
      </a:defRPr>
    </a:lvl4pPr>
    <a:lvl5pPr marL="1828800" algn="l" defTabSz="914400" rtl="0" eaLnBrk="1" latinLnBrk="0" hangingPunct="1">
      <a:defRPr sz="1200" b="0" i="0" kern="1200">
        <a:solidFill>
          <a:schemeClr val="tx1"/>
        </a:solidFill>
        <a:latin typeface="Invention" panose="020B0503020008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71217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20191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23869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11439144"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11439144"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52200"/>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8" name="Footer Placeholder 7">
            <a:extLst>
              <a:ext uri="{FF2B5EF4-FFF2-40B4-BE49-F238E27FC236}">
                <a16:creationId xmlns:a16="http://schemas.microsoft.com/office/drawing/2014/main" id="{2A2A630D-D2A2-A24D-9003-1BEE64F923A3}"/>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DEDCDF1C-336C-0246-BDC6-596FD9C52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6411173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p>
            <a:fld id="{1E34BD0E-C4B5-A54B-9A77-159AD414B604}"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6235E8A8-7A94-4D3A-8CEF-505EA93C3FAB}"/>
              </a:ext>
            </a:extLst>
          </p:cNvPr>
          <p:cNvSpPr>
            <a:spLocks noGrp="1"/>
          </p:cNvSpPr>
          <p:nvPr>
            <p:ph sz="half" idx="13"/>
          </p:nvPr>
        </p:nvSpPr>
        <p:spPr>
          <a:xfrm>
            <a:off x="6306175" y="1925636"/>
            <a:ext cx="5508000" cy="4456113"/>
          </a:xfrm>
          <a:prstGeom prst="rect">
            <a:avLst/>
          </a:prstGeom>
        </p:spPr>
        <p:txBody>
          <a:bodyPr/>
          <a:lstStyle>
            <a:lvl1pPr>
              <a:spcBef>
                <a:spcPts val="1600"/>
              </a:spcBef>
              <a:spcAft>
                <a:spcPts val="1600"/>
              </a:spcAft>
              <a:defRPr b="1">
                <a:solidFill>
                  <a:schemeClr val="accent1"/>
                </a:solidFill>
              </a:defRPr>
            </a:lvl1pPr>
            <a:lvl2pPr marL="216000" indent="0">
              <a:spcAft>
                <a:spcPts val="0"/>
              </a:spcAft>
              <a:buNone/>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4892203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550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64212C56-F55F-3546-9A1C-3F18907ADBE0}"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6306175" y="1925636"/>
            <a:ext cx="550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74379075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9502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D81C3A2D-2FFA-A644-AC22-DEFEDD04EC5A}"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0C26C6CA-6FA0-41CA-894A-BF8B4460FDF3}"/>
              </a:ext>
            </a:extLst>
          </p:cNvPr>
          <p:cNvSpPr>
            <a:spLocks noGrp="1"/>
          </p:cNvSpPr>
          <p:nvPr>
            <p:ph idx="13"/>
          </p:nvPr>
        </p:nvSpPr>
        <p:spPr>
          <a:xfrm>
            <a:off x="7123375" y="1925636"/>
            <a:ext cx="46908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7DCB0DAD-1D3A-4AE1-B658-E47AEDEBDC9E}"/>
              </a:ext>
            </a:extLst>
          </p:cNvPr>
          <p:cNvSpPr>
            <a:spLocks noGrp="1"/>
          </p:cNvSpPr>
          <p:nvPr>
            <p:ph sz="quarter" idx="14" hasCustomPrompt="1"/>
          </p:nvPr>
        </p:nvSpPr>
        <p:spPr>
          <a:xfrm>
            <a:off x="377825" y="1925638"/>
            <a:ext cx="727075"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8A05E0C6-0A16-44EE-A33F-CB3D25780FDB}"/>
              </a:ext>
            </a:extLst>
          </p:cNvPr>
          <p:cNvSpPr>
            <a:spLocks noGrp="1"/>
          </p:cNvSpPr>
          <p:nvPr>
            <p:ph sz="quarter" idx="15" hasCustomPrompt="1"/>
          </p:nvPr>
        </p:nvSpPr>
        <p:spPr>
          <a:xfrm>
            <a:off x="6306177" y="1925636"/>
            <a:ext cx="727075"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41032284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Lar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684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7566175" y="1925637"/>
            <a:ext cx="4248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B1A5FAC7-D619-A54E-877A-A320E0D2E122}"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19433052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248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Content Placeholder 3"/>
          <p:cNvSpPr>
            <a:spLocks noGrp="1"/>
          </p:cNvSpPr>
          <p:nvPr>
            <p:ph sz="half" idx="2"/>
          </p:nvPr>
        </p:nvSpPr>
        <p:spPr>
          <a:xfrm>
            <a:off x="4974175" y="1925637"/>
            <a:ext cx="684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4E677B2-E575-7548-9AE7-0387A468A294}"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15946608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0415A4EB-7CE5-0940-A150-C0B0199CEF30}"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1925636"/>
            <a:ext cx="3607594"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A74794FA-AA98-F44B-9C03-D9A23F686CEA}"/>
              </a:ext>
            </a:extLst>
          </p:cNvPr>
          <p:cNvSpPr>
            <a:spLocks noGrp="1"/>
          </p:cNvSpPr>
          <p:nvPr>
            <p:ph idx="15"/>
          </p:nvPr>
        </p:nvSpPr>
        <p:spPr>
          <a:xfrm>
            <a:off x="4292203" y="1925636"/>
            <a:ext cx="3607594"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54337476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Boxed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0C4D9207-ADC6-1148-9671-F054DC63C638}"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9" name="Straight Connector 8">
            <a:extLst>
              <a:ext uri="{FF2B5EF4-FFF2-40B4-BE49-F238E27FC236}">
                <a16:creationId xmlns:a16="http://schemas.microsoft.com/office/drawing/2014/main" id="{A037978F-B82C-43FD-83FD-6C5528177445}"/>
              </a:ext>
            </a:extLst>
          </p:cNvPr>
          <p:cNvCxnSpPr/>
          <p:nvPr userDrawn="1"/>
        </p:nvCxnSpPr>
        <p:spPr>
          <a:xfrm>
            <a:off x="4138811"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0E9591C-D839-480D-87AF-CCA3E39A8A12}"/>
              </a:ext>
            </a:extLst>
          </p:cNvPr>
          <p:cNvCxnSpPr/>
          <p:nvPr userDrawn="1"/>
        </p:nvCxnSpPr>
        <p:spPr>
          <a:xfrm>
            <a:off x="8053189" y="2779713"/>
            <a:ext cx="0" cy="34933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669CDDD6-A4E2-4D4C-82F0-B33A9971E13C}"/>
              </a:ext>
            </a:extLst>
          </p:cNvPr>
          <p:cNvSpPr>
            <a:spLocks noGrp="1"/>
          </p:cNvSpPr>
          <p:nvPr>
            <p:ph type="body" sz="quarter" idx="16"/>
          </p:nvPr>
        </p:nvSpPr>
        <p:spPr>
          <a:xfrm>
            <a:off x="378222"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3" name="Text Placeholder 10">
            <a:extLst>
              <a:ext uri="{FF2B5EF4-FFF2-40B4-BE49-F238E27FC236}">
                <a16:creationId xmlns:a16="http://schemas.microsoft.com/office/drawing/2014/main" id="{229F3904-BD90-4349-B787-82A3653EBE85}"/>
              </a:ext>
            </a:extLst>
          </p:cNvPr>
          <p:cNvSpPr>
            <a:spLocks noGrp="1"/>
          </p:cNvSpPr>
          <p:nvPr>
            <p:ph type="body" sz="quarter" idx="17"/>
          </p:nvPr>
        </p:nvSpPr>
        <p:spPr>
          <a:xfrm>
            <a:off x="4292600"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sp>
        <p:nvSpPr>
          <p:cNvPr id="14" name="Text Placeholder 10">
            <a:extLst>
              <a:ext uri="{FF2B5EF4-FFF2-40B4-BE49-F238E27FC236}">
                <a16:creationId xmlns:a16="http://schemas.microsoft.com/office/drawing/2014/main" id="{0D5749C8-BCF0-41ED-BD1F-0512A23DA937}"/>
              </a:ext>
            </a:extLst>
          </p:cNvPr>
          <p:cNvSpPr>
            <a:spLocks noGrp="1"/>
          </p:cNvSpPr>
          <p:nvPr>
            <p:ph type="body" sz="quarter" idx="18"/>
          </p:nvPr>
        </p:nvSpPr>
        <p:spPr>
          <a:xfrm>
            <a:off x="8206978" y="1925638"/>
            <a:ext cx="3606800" cy="694800"/>
          </a:xfrm>
          <a:prstGeom prst="rect">
            <a:avLst/>
          </a:prstGeom>
          <a:solidFill>
            <a:schemeClr val="accent1"/>
          </a:solidFill>
        </p:spPr>
        <p:txBody>
          <a:bodyPr lIns="180000" tIns="144000" rIns="180000" bIns="144000" anchor="ctr"/>
          <a:lstStyle>
            <a:lvl1pPr algn="l">
              <a:spcAft>
                <a:spcPts val="0"/>
              </a:spcAft>
              <a:defRPr sz="1600">
                <a:solidFill>
                  <a:schemeClr val="bg1"/>
                </a:solidFill>
                <a:latin typeface="+mn-lt"/>
              </a:defRPr>
            </a:lvl1pPr>
            <a:lvl2pPr marL="0" indent="0">
              <a:spcAft>
                <a:spcPts val="0"/>
              </a:spcAft>
              <a:buNone/>
              <a:defRPr sz="1200" b="1">
                <a:solidFill>
                  <a:schemeClr val="bg1"/>
                </a:solidFill>
              </a:defRPr>
            </a:lvl2pPr>
          </a:lstStyle>
          <a:p>
            <a:pPr lvl="0"/>
            <a:r>
              <a:rPr lang="en-US"/>
              <a:t>Click to edit Master text styles</a:t>
            </a:r>
          </a:p>
          <a:p>
            <a:pPr lvl="1"/>
            <a:r>
              <a:rPr lang="en-US"/>
              <a:t>Second level</a:t>
            </a:r>
          </a:p>
        </p:txBody>
      </p:sp>
      <p:pic>
        <p:nvPicPr>
          <p:cNvPr id="17" name="Picture 16" descr="A close up of smoke&#10;&#10;Description automatically generated">
            <a:extLst>
              <a:ext uri="{FF2B5EF4-FFF2-40B4-BE49-F238E27FC236}">
                <a16:creationId xmlns:a16="http://schemas.microsoft.com/office/drawing/2014/main" id="{5F203263-769C-4C12-9223-200169951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7096" y="2098506"/>
            <a:ext cx="163429" cy="346582"/>
          </a:xfrm>
          <a:prstGeom prst="rect">
            <a:avLst/>
          </a:prstGeom>
        </p:spPr>
      </p:pic>
      <p:pic>
        <p:nvPicPr>
          <p:cNvPr id="18" name="Picture 17" descr="A close up of smoke&#10;&#10;Description automatically generated">
            <a:extLst>
              <a:ext uri="{FF2B5EF4-FFF2-40B4-BE49-F238E27FC236}">
                <a16:creationId xmlns:a16="http://schemas.microsoft.com/office/drawing/2014/main" id="{67406F93-4853-495C-80C0-0EF6FE29A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1474" y="2100987"/>
            <a:ext cx="163429" cy="346582"/>
          </a:xfrm>
          <a:prstGeom prst="rect">
            <a:avLst/>
          </a:prstGeom>
        </p:spPr>
      </p:pic>
      <p:sp>
        <p:nvSpPr>
          <p:cNvPr id="19" name="Content Placeholder 2">
            <a:extLst>
              <a:ext uri="{FF2B5EF4-FFF2-40B4-BE49-F238E27FC236}">
                <a16:creationId xmlns:a16="http://schemas.microsoft.com/office/drawing/2014/main" id="{8D2CA29D-86D5-4B12-95E3-E5BA1462E557}"/>
              </a:ext>
            </a:extLst>
          </p:cNvPr>
          <p:cNvSpPr>
            <a:spLocks noGrp="1"/>
          </p:cNvSpPr>
          <p:nvPr>
            <p:ph idx="1"/>
          </p:nvPr>
        </p:nvSpPr>
        <p:spPr>
          <a:xfrm>
            <a:off x="377825"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0" name="Content Placeholder 2">
            <a:extLst>
              <a:ext uri="{FF2B5EF4-FFF2-40B4-BE49-F238E27FC236}">
                <a16:creationId xmlns:a16="http://schemas.microsoft.com/office/drawing/2014/main" id="{21F82BA5-FD67-413D-BACC-18EB05236512}"/>
              </a:ext>
            </a:extLst>
          </p:cNvPr>
          <p:cNvSpPr>
            <a:spLocks noGrp="1"/>
          </p:cNvSpPr>
          <p:nvPr>
            <p:ph idx="19"/>
          </p:nvPr>
        </p:nvSpPr>
        <p:spPr>
          <a:xfrm>
            <a:off x="4292202"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21" name="Content Placeholder 2">
            <a:extLst>
              <a:ext uri="{FF2B5EF4-FFF2-40B4-BE49-F238E27FC236}">
                <a16:creationId xmlns:a16="http://schemas.microsoft.com/office/drawing/2014/main" id="{CD09D3E6-36C0-430F-BA84-5003F9B4225B}"/>
              </a:ext>
            </a:extLst>
          </p:cNvPr>
          <p:cNvSpPr>
            <a:spLocks noGrp="1"/>
          </p:cNvSpPr>
          <p:nvPr>
            <p:ph idx="20"/>
          </p:nvPr>
        </p:nvSpPr>
        <p:spPr>
          <a:xfrm>
            <a:off x="8206579" y="2779714"/>
            <a:ext cx="3607594" cy="3602036"/>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284164515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35419" y="1925637"/>
            <a:ext cx="315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1C371BE7-2050-464F-B3BA-FE133C9F987C}"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749797"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664175" y="1925636"/>
            <a:ext cx="315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8">
            <a:extLst>
              <a:ext uri="{FF2B5EF4-FFF2-40B4-BE49-F238E27FC236}">
                <a16:creationId xmlns:a16="http://schemas.microsoft.com/office/drawing/2014/main" id="{11C72693-AE5F-44C4-B2DE-80193159B355}"/>
              </a:ext>
            </a:extLst>
          </p:cNvPr>
          <p:cNvSpPr>
            <a:spLocks noGrp="1"/>
          </p:cNvSpPr>
          <p:nvPr>
            <p:ph sz="quarter" idx="15" hasCustomPrompt="1"/>
          </p:nvPr>
        </p:nvSpPr>
        <p:spPr>
          <a:xfrm>
            <a:off x="377826" y="1925638"/>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0" name="Content Placeholder 8">
            <a:extLst>
              <a:ext uri="{FF2B5EF4-FFF2-40B4-BE49-F238E27FC236}">
                <a16:creationId xmlns:a16="http://schemas.microsoft.com/office/drawing/2014/main" id="{582ACADA-0A45-42F9-8B5C-1E169DE39EC3}"/>
              </a:ext>
            </a:extLst>
          </p:cNvPr>
          <p:cNvSpPr>
            <a:spLocks noGrp="1"/>
          </p:cNvSpPr>
          <p:nvPr>
            <p:ph sz="quarter" idx="16" hasCustomPrompt="1"/>
          </p:nvPr>
        </p:nvSpPr>
        <p:spPr>
          <a:xfrm>
            <a:off x="4292600" y="1920800"/>
            <a:ext cx="534844"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93CC5F8C-C4D5-42BB-A445-BB440A06A613}"/>
              </a:ext>
            </a:extLst>
          </p:cNvPr>
          <p:cNvSpPr>
            <a:spLocks noGrp="1"/>
          </p:cNvSpPr>
          <p:nvPr>
            <p:ph sz="quarter" idx="17" hasCustomPrompt="1"/>
          </p:nvPr>
        </p:nvSpPr>
        <p:spPr>
          <a:xfrm>
            <a:off x="8207374" y="1915962"/>
            <a:ext cx="534844"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30107946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ree Column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rgbClr val="9EA7B3"/>
                </a:solidFill>
              </a:defRPr>
            </a:lvl1pPr>
          </a:lstStyle>
          <a:p>
            <a:fld id="{73EB6BEA-3975-214B-94EF-41854C90D5A9}" type="datetime4">
              <a:rPr lang="en-US" smtClean="0"/>
              <a:t>September 24, 2023</a:t>
            </a:fld>
            <a:endParaRPr lang="en-GB"/>
          </a:p>
        </p:txBody>
      </p:sp>
      <p:sp>
        <p:nvSpPr>
          <p:cNvPr id="5" name="Footer Placeholder 4"/>
          <p:cNvSpPr>
            <a:spLocks noGrp="1"/>
          </p:cNvSpPr>
          <p:nvPr>
            <p:ph type="ftr" sz="quarter" idx="11"/>
          </p:nvPr>
        </p:nvSpPr>
        <p:spPr/>
        <p:txBody>
          <a:bodyPr/>
          <a:lstStyle>
            <a:lvl1pPr>
              <a:defRPr>
                <a:solidFill>
                  <a:srgbClr val="9EA7B3"/>
                </a:solidFill>
              </a:defRPr>
            </a:lvl1pPr>
          </a:lstStyle>
          <a:p>
            <a:endParaRPr lang="en-GB"/>
          </a:p>
        </p:txBody>
      </p:sp>
      <p:sp>
        <p:nvSpPr>
          <p:cNvPr id="6" name="Slide Number Placeholder 5"/>
          <p:cNvSpPr>
            <a:spLocks noGrp="1"/>
          </p:cNvSpPr>
          <p:nvPr>
            <p:ph type="sldNum" sz="quarter" idx="12"/>
          </p:nvPr>
        </p:nvSpPr>
        <p:spPr/>
        <p:txBody>
          <a:bodyPr/>
          <a:lstStyle>
            <a:lvl1pPr>
              <a:defRPr>
                <a:solidFill>
                  <a:srgbClr val="9EA7B3"/>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DDCF90C-1CF9-4401-9944-53FD3BC1F988}"/>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3" name="Content Placeholder 2">
            <a:extLst>
              <a:ext uri="{FF2B5EF4-FFF2-40B4-BE49-F238E27FC236}">
                <a16:creationId xmlns:a16="http://schemas.microsoft.com/office/drawing/2014/main" id="{A8B715D9-46C4-453C-9232-C5958522C1D4}"/>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4" name="Content Placeholder 2">
            <a:extLst>
              <a:ext uri="{FF2B5EF4-FFF2-40B4-BE49-F238E27FC236}">
                <a16:creationId xmlns:a16="http://schemas.microsoft.com/office/drawing/2014/main" id="{BF5A29A8-85A5-46D8-8F53-96CD2CDDBFB3}"/>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accent2"/>
                </a:solidFill>
              </a:defRPr>
            </a:lvl6pPr>
            <a:lvl7pPr>
              <a:defRPr lang="en-US" dirty="0" smtClean="0">
                <a:solidFill>
                  <a:schemeClr val="bg1"/>
                </a:solidFill>
              </a:defRPr>
            </a:lvl7pPr>
            <a:lvl8pPr>
              <a:defRPr lang="en-US" dirty="0">
                <a:solidFill>
                  <a:schemeClr val="accent2"/>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BFB21EA3-AB8A-2A4F-BBAC-105427A70A5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46890959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ree Column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C0B3C11D-CBDE-CD44-8B22-0B01F921E311}" type="datetime4">
              <a:rPr lang="en-US" smtClean="0"/>
              <a:t>September 24, 2023</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cxnSp>
        <p:nvCxnSpPr>
          <p:cNvPr id="9" name="Straight Connector 8">
            <a:extLst>
              <a:ext uri="{FF2B5EF4-FFF2-40B4-BE49-F238E27FC236}">
                <a16:creationId xmlns:a16="http://schemas.microsoft.com/office/drawing/2014/main" id="{6AC93332-FCA3-4054-A844-0AC0A2544D34}"/>
              </a:ext>
            </a:extLst>
          </p:cNvPr>
          <p:cNvCxnSpPr/>
          <p:nvPr userDrawn="1"/>
        </p:nvCxnSpPr>
        <p:spPr>
          <a:xfrm>
            <a:off x="377825" y="1227932"/>
            <a:ext cx="1143635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C7712E2F-A70E-A449-B82B-DCC15A3F49BB}"/>
              </a:ext>
            </a:extLst>
          </p:cNvPr>
          <p:cNvSpPr>
            <a:spLocks noGrp="1"/>
          </p:cNvSpPr>
          <p:nvPr>
            <p:ph idx="13"/>
          </p:nvPr>
        </p:nvSpPr>
        <p:spPr>
          <a:xfrm>
            <a:off x="4292203"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6" name="Content Placeholder 2">
            <a:extLst>
              <a:ext uri="{FF2B5EF4-FFF2-40B4-BE49-F238E27FC236}">
                <a16:creationId xmlns:a16="http://schemas.microsoft.com/office/drawing/2014/main" id="{3981C63A-E439-DC4A-B1CA-8000C08D3F40}"/>
              </a:ext>
            </a:extLst>
          </p:cNvPr>
          <p:cNvSpPr>
            <a:spLocks noGrp="1"/>
          </p:cNvSpPr>
          <p:nvPr>
            <p:ph idx="14"/>
          </p:nvPr>
        </p:nvSpPr>
        <p:spPr>
          <a:xfrm>
            <a:off x="8206581" y="1925636"/>
            <a:ext cx="3607594" cy="4456111"/>
          </a:xfrm>
          <a:prstGeom prst="rect">
            <a:avLst/>
          </a:prstGeom>
        </p:spPr>
        <p:txBody>
          <a:bodyPr vert="horz" lIns="0" tIns="0" rIns="0" bIns="0" rtlCol="0" anchor="t">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7" name="Content Placeholder 2">
            <a:extLst>
              <a:ext uri="{FF2B5EF4-FFF2-40B4-BE49-F238E27FC236}">
                <a16:creationId xmlns:a16="http://schemas.microsoft.com/office/drawing/2014/main" id="{9EBE22AF-5013-184C-9B29-F1B4880E7BA5}"/>
              </a:ext>
            </a:extLst>
          </p:cNvPr>
          <p:cNvSpPr>
            <a:spLocks noGrp="1"/>
          </p:cNvSpPr>
          <p:nvPr>
            <p:ph idx="1"/>
          </p:nvPr>
        </p:nvSpPr>
        <p:spPr>
          <a:xfrm>
            <a:off x="377825" y="1925637"/>
            <a:ext cx="3607594" cy="4456111"/>
          </a:xfrm>
          <a:prstGeom prst="rect">
            <a:avLst/>
          </a:prstGeom>
        </p:spPr>
        <p:txBody>
          <a:bodyPr vert="horz" lIns="0" tIns="0" rIns="0" bIns="0" rtlCol="0" anchor="t">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smtClean="0">
                <a:solidFill>
                  <a:schemeClr val="bg1"/>
                </a:solidFill>
              </a:defRPr>
            </a:lvl5pPr>
            <a:lvl6pPr>
              <a:defRPr lang="en-US" dirty="0" smtClean="0">
                <a:solidFill>
                  <a:schemeClr val="bg1"/>
                </a:solidFill>
              </a:defRPr>
            </a:lvl6pPr>
            <a:lvl7pPr>
              <a:defRPr lang="en-US" dirty="0" smtClean="0">
                <a:solidFill>
                  <a:schemeClr val="bg1"/>
                </a:solidFill>
              </a:defRPr>
            </a:lvl7pPr>
            <a:lvl8pPr>
              <a:defRPr lang="en-US" dirty="0">
                <a:solidFill>
                  <a:schemeClr val="bg1"/>
                </a:solidFill>
              </a:defRPr>
            </a:lvl8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1" name="Picture 10">
            <a:extLst>
              <a:ext uri="{FF2B5EF4-FFF2-40B4-BE49-F238E27FC236}">
                <a16:creationId xmlns:a16="http://schemas.microsoft.com/office/drawing/2014/main" id="{DF3521C8-6D7C-454E-8E2D-CDFFA7F74F6A}"/>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416888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7824" y="377825"/>
            <a:ext cx="11439144" cy="850107"/>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1502791B-FD39-994A-ADE5-789491EECC7A}"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8" name="Content Placeholder 7">
            <a:extLst>
              <a:ext uri="{FF2B5EF4-FFF2-40B4-BE49-F238E27FC236}">
                <a16:creationId xmlns:a16="http://schemas.microsoft.com/office/drawing/2014/main" id="{15ABDD55-8102-A442-975A-192C62CA9859}"/>
              </a:ext>
            </a:extLst>
          </p:cNvPr>
          <p:cNvSpPr>
            <a:spLocks noGrp="1"/>
          </p:cNvSpPr>
          <p:nvPr>
            <p:ph sz="quarter" idx="14"/>
          </p:nvPr>
        </p:nvSpPr>
        <p:spPr>
          <a:xfrm>
            <a:off x="374904" y="1929384"/>
            <a:ext cx="11439144" cy="4453128"/>
          </a:xfr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38190605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7"/>
            <a:ext cx="2520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8DB321EC-5A9E-F847-A031-D651CF2B8CC1}"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349942"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322059" y="1925636"/>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294175" y="1925635"/>
            <a:ext cx="2520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Tree>
    <p:extLst>
      <p:ext uri="{BB962C8B-B14F-4D97-AF65-F5344CB8AC3E}">
        <p14:creationId xmlns:p14="http://schemas.microsoft.com/office/powerpoint/2010/main" val="86106683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 Inden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63825" y="1925637"/>
            <a:ext cx="2034000" cy="4456113"/>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E980DDC-B55F-5741-9B49-8D6EC6B4C324}"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835942"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808059" y="1925636"/>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780175" y="1925635"/>
            <a:ext cx="2034000" cy="4456113"/>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Content Placeholder 8">
            <a:extLst>
              <a:ext uri="{FF2B5EF4-FFF2-40B4-BE49-F238E27FC236}">
                <a16:creationId xmlns:a16="http://schemas.microsoft.com/office/drawing/2014/main" id="{91B5C024-3D37-40F2-9B81-1690BB319147}"/>
              </a:ext>
            </a:extLst>
          </p:cNvPr>
          <p:cNvSpPr>
            <a:spLocks noGrp="1"/>
          </p:cNvSpPr>
          <p:nvPr>
            <p:ph sz="quarter" idx="16" hasCustomPrompt="1"/>
          </p:nvPr>
        </p:nvSpPr>
        <p:spPr>
          <a:xfrm>
            <a:off x="377825" y="1925638"/>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1" name="Content Placeholder 8">
            <a:extLst>
              <a:ext uri="{FF2B5EF4-FFF2-40B4-BE49-F238E27FC236}">
                <a16:creationId xmlns:a16="http://schemas.microsoft.com/office/drawing/2014/main" id="{521F0D55-5210-49B5-B56F-CE30A8FB3C35}"/>
              </a:ext>
            </a:extLst>
          </p:cNvPr>
          <p:cNvSpPr>
            <a:spLocks noGrp="1"/>
          </p:cNvSpPr>
          <p:nvPr>
            <p:ph sz="quarter" idx="17" hasCustomPrompt="1"/>
          </p:nvPr>
        </p:nvSpPr>
        <p:spPr>
          <a:xfrm>
            <a:off x="3348187" y="1925635"/>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2" name="Content Placeholder 8">
            <a:extLst>
              <a:ext uri="{FF2B5EF4-FFF2-40B4-BE49-F238E27FC236}">
                <a16:creationId xmlns:a16="http://schemas.microsoft.com/office/drawing/2014/main" id="{3D09EB75-7828-4D9E-BDD9-CAE3A50CAFEF}"/>
              </a:ext>
            </a:extLst>
          </p:cNvPr>
          <p:cNvSpPr>
            <a:spLocks noGrp="1"/>
          </p:cNvSpPr>
          <p:nvPr>
            <p:ph sz="quarter" idx="18" hasCustomPrompt="1"/>
          </p:nvPr>
        </p:nvSpPr>
        <p:spPr>
          <a:xfrm>
            <a:off x="6318549" y="1925632"/>
            <a:ext cx="589379" cy="854075"/>
          </a:xfrm>
          <a:prstGeom prst="rect">
            <a:avLst/>
          </a:prstGeom>
        </p:spPr>
        <p:txBody>
          <a:bodyPr/>
          <a:lstStyle>
            <a:lvl1pPr>
              <a:defRPr sz="2750">
                <a:latin typeface="+mj-lt"/>
              </a:defRPr>
            </a:lvl1pPr>
          </a:lstStyle>
          <a:p>
            <a:pPr lvl="0"/>
            <a:r>
              <a:rPr lang="en-US" dirty="0"/>
              <a:t>0.</a:t>
            </a:r>
            <a:endParaRPr lang="en-GB" dirty="0"/>
          </a:p>
        </p:txBody>
      </p:sp>
      <p:sp>
        <p:nvSpPr>
          <p:cNvPr id="13" name="Content Placeholder 8">
            <a:extLst>
              <a:ext uri="{FF2B5EF4-FFF2-40B4-BE49-F238E27FC236}">
                <a16:creationId xmlns:a16="http://schemas.microsoft.com/office/drawing/2014/main" id="{029A3F0B-03EF-4E97-80EA-26AA53F30F63}"/>
              </a:ext>
            </a:extLst>
          </p:cNvPr>
          <p:cNvSpPr>
            <a:spLocks noGrp="1"/>
          </p:cNvSpPr>
          <p:nvPr>
            <p:ph sz="quarter" idx="19" hasCustomPrompt="1"/>
          </p:nvPr>
        </p:nvSpPr>
        <p:spPr>
          <a:xfrm>
            <a:off x="9288911" y="1925629"/>
            <a:ext cx="589379"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27525270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Box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2779714"/>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35484689-AE6E-864F-98D0-FBE196532CB7}"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3271942"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6166059" y="2779713"/>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250D3F88-0323-4B6F-A103-01F202829C35}"/>
              </a:ext>
            </a:extLst>
          </p:cNvPr>
          <p:cNvSpPr>
            <a:spLocks noGrp="1"/>
          </p:cNvSpPr>
          <p:nvPr>
            <p:ph idx="15"/>
          </p:nvPr>
        </p:nvSpPr>
        <p:spPr>
          <a:xfrm>
            <a:off x="9060175" y="2779712"/>
            <a:ext cx="2754000" cy="3602036"/>
          </a:xfrm>
          <a:prstGeom prst="rect">
            <a:avLst/>
          </a:prstGeom>
          <a:solidFill>
            <a:srgbClr val="F7F7F7"/>
          </a:solidFill>
        </p:spPr>
        <p:txBody>
          <a:bodyPr lIns="288000" tIns="216000" rIns="288000" bIns="216000"/>
          <a:lstStyle>
            <a:lvl1pPr>
              <a:defRPr>
                <a:solidFill>
                  <a:schemeClr val="tx1"/>
                </a:solidFill>
              </a:defRPr>
            </a:lvl1pPr>
            <a:lvl2pPr marL="108000" indent="-108000">
              <a:spcAft>
                <a:spcPts val="1600"/>
              </a:spcAft>
              <a:buFont typeface="Arial" panose="020B0604020202020204" pitchFamily="34" charset="0"/>
              <a:buChar char="•"/>
              <a:defRPr sz="1200">
                <a:solidFill>
                  <a:schemeClr val="tx1"/>
                </a:solidFill>
              </a:defRPr>
            </a:lvl2pPr>
          </a:lstStyle>
          <a:p>
            <a:pPr lvl="0"/>
            <a:r>
              <a:rPr lang="en-US"/>
              <a:t>Click to edit Master text styles</a:t>
            </a:r>
          </a:p>
          <a:p>
            <a:pPr lvl="1"/>
            <a:r>
              <a:rPr lang="en-US"/>
              <a:t>Second level</a:t>
            </a:r>
          </a:p>
        </p:txBody>
      </p:sp>
      <p:sp>
        <p:nvSpPr>
          <p:cNvPr id="11" name="Text Placeholder 10">
            <a:extLst>
              <a:ext uri="{FF2B5EF4-FFF2-40B4-BE49-F238E27FC236}">
                <a16:creationId xmlns:a16="http://schemas.microsoft.com/office/drawing/2014/main" id="{14075B33-7825-4C60-862C-61A603CFC785}"/>
              </a:ext>
            </a:extLst>
          </p:cNvPr>
          <p:cNvSpPr>
            <a:spLocks noGrp="1"/>
          </p:cNvSpPr>
          <p:nvPr>
            <p:ph type="body" sz="quarter" idx="16"/>
          </p:nvPr>
        </p:nvSpPr>
        <p:spPr>
          <a:xfrm>
            <a:off x="377825"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2" name="Text Placeholder 10">
            <a:extLst>
              <a:ext uri="{FF2B5EF4-FFF2-40B4-BE49-F238E27FC236}">
                <a16:creationId xmlns:a16="http://schemas.microsoft.com/office/drawing/2014/main" id="{3E2CDC91-E304-418C-A9D7-28AC6287D358}"/>
              </a:ext>
            </a:extLst>
          </p:cNvPr>
          <p:cNvSpPr>
            <a:spLocks noGrp="1"/>
          </p:cNvSpPr>
          <p:nvPr>
            <p:ph type="body" sz="quarter" idx="17"/>
          </p:nvPr>
        </p:nvSpPr>
        <p:spPr>
          <a:xfrm>
            <a:off x="3271629"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3" name="Text Placeholder 10">
            <a:extLst>
              <a:ext uri="{FF2B5EF4-FFF2-40B4-BE49-F238E27FC236}">
                <a16:creationId xmlns:a16="http://schemas.microsoft.com/office/drawing/2014/main" id="{6E66F7D4-5CDC-4402-A280-84C231E68B2A}"/>
              </a:ext>
            </a:extLst>
          </p:cNvPr>
          <p:cNvSpPr>
            <a:spLocks noGrp="1"/>
          </p:cNvSpPr>
          <p:nvPr>
            <p:ph type="body" sz="quarter" idx="18"/>
          </p:nvPr>
        </p:nvSpPr>
        <p:spPr>
          <a:xfrm>
            <a:off x="6165433"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
        <p:nvSpPr>
          <p:cNvPr id="14" name="Text Placeholder 10">
            <a:extLst>
              <a:ext uri="{FF2B5EF4-FFF2-40B4-BE49-F238E27FC236}">
                <a16:creationId xmlns:a16="http://schemas.microsoft.com/office/drawing/2014/main" id="{8C7CB55E-AF72-47A4-A35E-3697A3A87708}"/>
              </a:ext>
            </a:extLst>
          </p:cNvPr>
          <p:cNvSpPr>
            <a:spLocks noGrp="1"/>
          </p:cNvSpPr>
          <p:nvPr>
            <p:ph type="body" sz="quarter" idx="19"/>
          </p:nvPr>
        </p:nvSpPr>
        <p:spPr>
          <a:xfrm>
            <a:off x="9059237" y="1925638"/>
            <a:ext cx="2754313" cy="694800"/>
          </a:xfrm>
          <a:prstGeom prst="rect">
            <a:avLst/>
          </a:prstGeom>
          <a:solidFill>
            <a:schemeClr val="accent1"/>
          </a:solidFill>
        </p:spPr>
        <p:txBody>
          <a:bodyPr lIns="288000" rIns="288000" anchor="ctr"/>
          <a:lstStyle>
            <a:lvl1pPr algn="l">
              <a:spcAft>
                <a:spcPts val="0"/>
              </a:spcAft>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967696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Til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93F15A63-0F3E-7541-989F-B6BB8268B701}" type="datetime4">
              <a:rPr lang="en-US" smtClean="0"/>
              <a:t>September 24,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377825" y="1925637"/>
            <a:ext cx="5488744"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cxnSp>
        <p:nvCxnSpPr>
          <p:cNvPr id="8" name="Straight Connector 7">
            <a:extLst>
              <a:ext uri="{FF2B5EF4-FFF2-40B4-BE49-F238E27FC236}">
                <a16:creationId xmlns:a16="http://schemas.microsoft.com/office/drawing/2014/main" id="{A3B90707-AB72-4BDF-AD03-5CEFF13586D8}"/>
              </a:ext>
            </a:extLst>
          </p:cNvPr>
          <p:cNvCxnSpPr>
            <a:cxnSpLocks/>
          </p:cNvCxnSpPr>
          <p:nvPr userDrawn="1"/>
        </p:nvCxnSpPr>
        <p:spPr>
          <a:xfrm>
            <a:off x="6096000" y="1925638"/>
            <a:ext cx="0" cy="4456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8EA5DCD-04DC-4410-9C6C-9AFCE3FEC069}"/>
              </a:ext>
            </a:extLst>
          </p:cNvPr>
          <p:cNvCxnSpPr>
            <a:cxnSpLocks/>
          </p:cNvCxnSpPr>
          <p:nvPr userDrawn="1"/>
        </p:nvCxnSpPr>
        <p:spPr>
          <a:xfrm>
            <a:off x="6325431"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8F22CA-E663-4B76-9B81-CB354FFB6727}"/>
              </a:ext>
            </a:extLst>
          </p:cNvPr>
          <p:cNvCxnSpPr>
            <a:cxnSpLocks/>
          </p:cNvCxnSpPr>
          <p:nvPr userDrawn="1"/>
        </p:nvCxnSpPr>
        <p:spPr>
          <a:xfrm>
            <a:off x="377824" y="4153694"/>
            <a:ext cx="549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377825" y="4381945"/>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324177" y="1925638"/>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324177" y="4381946"/>
            <a:ext cx="5488744"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Tree>
    <p:extLst>
      <p:ext uri="{BB962C8B-B14F-4D97-AF65-F5344CB8AC3E}">
        <p14:creationId xmlns:p14="http://schemas.microsoft.com/office/powerpoint/2010/main" val="30704806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Tiled Inden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80BA-CC8A-4013-9EA0-65BE6D1C6B6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6E5952D-165E-4422-B6F7-2DAF938002CF}"/>
              </a:ext>
            </a:extLst>
          </p:cNvPr>
          <p:cNvSpPr>
            <a:spLocks noGrp="1"/>
          </p:cNvSpPr>
          <p:nvPr>
            <p:ph type="dt" sz="half" idx="10"/>
          </p:nvPr>
        </p:nvSpPr>
        <p:spPr/>
        <p:txBody>
          <a:bodyPr/>
          <a:lstStyle/>
          <a:p>
            <a:fld id="{7EEE2310-EF22-DB42-8D0E-326FE67C5C6E}" type="datetime4">
              <a:rPr lang="en-US" smtClean="0"/>
              <a:t>September 24, 2023</a:t>
            </a:fld>
            <a:endParaRPr lang="en-GB"/>
          </a:p>
        </p:txBody>
      </p:sp>
      <p:sp>
        <p:nvSpPr>
          <p:cNvPr id="4" name="Footer Placeholder 3">
            <a:extLst>
              <a:ext uri="{FF2B5EF4-FFF2-40B4-BE49-F238E27FC236}">
                <a16:creationId xmlns:a16="http://schemas.microsoft.com/office/drawing/2014/main" id="{C208CF89-19F1-4619-8CFD-0159853672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4262D2-A268-4FAE-B4EE-0E28085AFB8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Text Placeholder 6">
            <a:extLst>
              <a:ext uri="{FF2B5EF4-FFF2-40B4-BE49-F238E27FC236}">
                <a16:creationId xmlns:a16="http://schemas.microsoft.com/office/drawing/2014/main" id="{A3A7D77E-10EA-40B5-8684-ECAAEB1099ED}"/>
              </a:ext>
            </a:extLst>
          </p:cNvPr>
          <p:cNvSpPr>
            <a:spLocks noGrp="1"/>
          </p:cNvSpPr>
          <p:nvPr>
            <p:ph type="body" sz="quarter" idx="13"/>
          </p:nvPr>
        </p:nvSpPr>
        <p:spPr>
          <a:xfrm>
            <a:off x="759127" y="1925637"/>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3" name="Text Placeholder 6">
            <a:extLst>
              <a:ext uri="{FF2B5EF4-FFF2-40B4-BE49-F238E27FC236}">
                <a16:creationId xmlns:a16="http://schemas.microsoft.com/office/drawing/2014/main" id="{8E28A2BE-C86F-4838-BC49-91E5E5418EBA}"/>
              </a:ext>
            </a:extLst>
          </p:cNvPr>
          <p:cNvSpPr>
            <a:spLocks noGrp="1"/>
          </p:cNvSpPr>
          <p:nvPr>
            <p:ph type="body" sz="quarter" idx="14"/>
          </p:nvPr>
        </p:nvSpPr>
        <p:spPr>
          <a:xfrm>
            <a:off x="759127" y="4381945"/>
            <a:ext cx="5107442" cy="1869979"/>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GB"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dirty="0"/>
          </a:p>
        </p:txBody>
      </p:sp>
      <p:sp>
        <p:nvSpPr>
          <p:cNvPr id="14" name="Text Placeholder 6">
            <a:extLst>
              <a:ext uri="{FF2B5EF4-FFF2-40B4-BE49-F238E27FC236}">
                <a16:creationId xmlns:a16="http://schemas.microsoft.com/office/drawing/2014/main" id="{8D42EF75-B0F1-4A74-B0FB-F2AF125C263A}"/>
              </a:ext>
            </a:extLst>
          </p:cNvPr>
          <p:cNvSpPr>
            <a:spLocks noGrp="1"/>
          </p:cNvSpPr>
          <p:nvPr>
            <p:ph type="body" sz="quarter" idx="15"/>
          </p:nvPr>
        </p:nvSpPr>
        <p:spPr>
          <a:xfrm>
            <a:off x="6705479" y="1925638"/>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5" name="Text Placeholder 6">
            <a:extLst>
              <a:ext uri="{FF2B5EF4-FFF2-40B4-BE49-F238E27FC236}">
                <a16:creationId xmlns:a16="http://schemas.microsoft.com/office/drawing/2014/main" id="{2E0D7A43-F952-4A55-9F18-63C521552284}"/>
              </a:ext>
            </a:extLst>
          </p:cNvPr>
          <p:cNvSpPr>
            <a:spLocks noGrp="1"/>
          </p:cNvSpPr>
          <p:nvPr>
            <p:ph type="body" sz="quarter" idx="16"/>
          </p:nvPr>
        </p:nvSpPr>
        <p:spPr>
          <a:xfrm>
            <a:off x="6705479" y="4381946"/>
            <a:ext cx="5107442" cy="1869979"/>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GB"/>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GB"/>
          </a:p>
        </p:txBody>
      </p:sp>
      <p:sp>
        <p:nvSpPr>
          <p:cNvPr id="16" name="Content Placeholder 8">
            <a:extLst>
              <a:ext uri="{FF2B5EF4-FFF2-40B4-BE49-F238E27FC236}">
                <a16:creationId xmlns:a16="http://schemas.microsoft.com/office/drawing/2014/main" id="{8574B2E4-A6F8-41FA-8F1F-ECC21521DE34}"/>
              </a:ext>
            </a:extLst>
          </p:cNvPr>
          <p:cNvSpPr>
            <a:spLocks noGrp="1"/>
          </p:cNvSpPr>
          <p:nvPr>
            <p:ph sz="quarter" idx="17" hasCustomPrompt="1"/>
          </p:nvPr>
        </p:nvSpPr>
        <p:spPr>
          <a:xfrm>
            <a:off x="377826"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7" name="Content Placeholder 8">
            <a:extLst>
              <a:ext uri="{FF2B5EF4-FFF2-40B4-BE49-F238E27FC236}">
                <a16:creationId xmlns:a16="http://schemas.microsoft.com/office/drawing/2014/main" id="{EF4EAA21-6775-4363-955A-9F4F38C86AA3}"/>
              </a:ext>
            </a:extLst>
          </p:cNvPr>
          <p:cNvSpPr>
            <a:spLocks noGrp="1"/>
          </p:cNvSpPr>
          <p:nvPr>
            <p:ph sz="quarter" idx="18" hasCustomPrompt="1"/>
          </p:nvPr>
        </p:nvSpPr>
        <p:spPr>
          <a:xfrm>
            <a:off x="6324179" y="1925638"/>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8" name="Content Placeholder 8">
            <a:extLst>
              <a:ext uri="{FF2B5EF4-FFF2-40B4-BE49-F238E27FC236}">
                <a16:creationId xmlns:a16="http://schemas.microsoft.com/office/drawing/2014/main" id="{1FCF0DB0-8AF6-4AF8-9F54-BB3F00A84188}"/>
              </a:ext>
            </a:extLst>
          </p:cNvPr>
          <p:cNvSpPr>
            <a:spLocks noGrp="1"/>
          </p:cNvSpPr>
          <p:nvPr>
            <p:ph sz="quarter" idx="19" hasCustomPrompt="1"/>
          </p:nvPr>
        </p:nvSpPr>
        <p:spPr>
          <a:xfrm>
            <a:off x="377826" y="4381945"/>
            <a:ext cx="506112" cy="854075"/>
          </a:xfrm>
          <a:prstGeom prst="rect">
            <a:avLst/>
          </a:prstGeom>
        </p:spPr>
        <p:txBody>
          <a:bodyPr/>
          <a:lstStyle>
            <a:lvl1pPr>
              <a:defRPr sz="2750">
                <a:latin typeface="+mj-lt"/>
              </a:defRPr>
            </a:lvl1pPr>
          </a:lstStyle>
          <a:p>
            <a:pPr lvl="0"/>
            <a:r>
              <a:rPr lang="en-US" dirty="0"/>
              <a:t>0.</a:t>
            </a:r>
            <a:endParaRPr lang="en-GB" dirty="0"/>
          </a:p>
        </p:txBody>
      </p:sp>
      <p:sp>
        <p:nvSpPr>
          <p:cNvPr id="19" name="Content Placeholder 8">
            <a:extLst>
              <a:ext uri="{FF2B5EF4-FFF2-40B4-BE49-F238E27FC236}">
                <a16:creationId xmlns:a16="http://schemas.microsoft.com/office/drawing/2014/main" id="{BEBAAB19-15C5-44ED-923E-1ADCA4C004F7}"/>
              </a:ext>
            </a:extLst>
          </p:cNvPr>
          <p:cNvSpPr>
            <a:spLocks noGrp="1"/>
          </p:cNvSpPr>
          <p:nvPr>
            <p:ph sz="quarter" idx="20" hasCustomPrompt="1"/>
          </p:nvPr>
        </p:nvSpPr>
        <p:spPr>
          <a:xfrm>
            <a:off x="6324179" y="4381944"/>
            <a:ext cx="506112" cy="854075"/>
          </a:xfrm>
          <a:prstGeom prst="rect">
            <a:avLst/>
          </a:prstGeom>
        </p:spPr>
        <p:txBody>
          <a:bodyPr/>
          <a:lstStyle>
            <a:lvl1pPr>
              <a:defRPr sz="2750">
                <a:latin typeface="+mj-lt"/>
              </a:defRPr>
            </a:lvl1pPr>
          </a:lstStyle>
          <a:p>
            <a:pPr lvl="0"/>
            <a:r>
              <a:rPr lang="en-US" dirty="0"/>
              <a:t>0.</a:t>
            </a:r>
            <a:endParaRPr lang="en-GB" dirty="0"/>
          </a:p>
        </p:txBody>
      </p:sp>
    </p:spTree>
    <p:extLst>
      <p:ext uri="{BB962C8B-B14F-4D97-AF65-F5344CB8AC3E}">
        <p14:creationId xmlns:p14="http://schemas.microsoft.com/office/powerpoint/2010/main" val="10867695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3981600"/>
            <a:ext cx="3607594" cy="24001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4" name="Date Placeholder 3"/>
          <p:cNvSpPr>
            <a:spLocks noGrp="1"/>
          </p:cNvSpPr>
          <p:nvPr>
            <p:ph type="dt" sz="half" idx="10"/>
          </p:nvPr>
        </p:nvSpPr>
        <p:spPr/>
        <p:txBody>
          <a:bodyPr/>
          <a:lstStyle/>
          <a:p>
            <a:fld id="{C0F96CCB-2F86-FB47-9487-506B4DB47B74}"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
        <p:nvSpPr>
          <p:cNvPr id="7" name="Content Placeholder 2">
            <a:extLst>
              <a:ext uri="{FF2B5EF4-FFF2-40B4-BE49-F238E27FC236}">
                <a16:creationId xmlns:a16="http://schemas.microsoft.com/office/drawing/2014/main" id="{BB56CAA8-120B-4156-BBDE-C14811D308AC}"/>
              </a:ext>
            </a:extLst>
          </p:cNvPr>
          <p:cNvSpPr>
            <a:spLocks noGrp="1"/>
          </p:cNvSpPr>
          <p:nvPr>
            <p:ph idx="13"/>
          </p:nvPr>
        </p:nvSpPr>
        <p:spPr>
          <a:xfrm>
            <a:off x="4292203"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Content Placeholder 2">
            <a:extLst>
              <a:ext uri="{FF2B5EF4-FFF2-40B4-BE49-F238E27FC236}">
                <a16:creationId xmlns:a16="http://schemas.microsoft.com/office/drawing/2014/main" id="{CECAB32A-202F-4B4E-8290-6DE17E9C1F9D}"/>
              </a:ext>
            </a:extLst>
          </p:cNvPr>
          <p:cNvSpPr>
            <a:spLocks noGrp="1"/>
          </p:cNvSpPr>
          <p:nvPr>
            <p:ph idx="14"/>
          </p:nvPr>
        </p:nvSpPr>
        <p:spPr>
          <a:xfrm>
            <a:off x="8206581" y="3981600"/>
            <a:ext cx="3607594" cy="24001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10" name="Text Placeholder 9">
            <a:extLst>
              <a:ext uri="{FF2B5EF4-FFF2-40B4-BE49-F238E27FC236}">
                <a16:creationId xmlns:a16="http://schemas.microsoft.com/office/drawing/2014/main" id="{F9EA4881-2F50-4460-9F83-A86DF033A165}"/>
              </a:ext>
            </a:extLst>
          </p:cNvPr>
          <p:cNvSpPr>
            <a:spLocks noGrp="1"/>
          </p:cNvSpPr>
          <p:nvPr>
            <p:ph type="body" sz="quarter" idx="15"/>
          </p:nvPr>
        </p:nvSpPr>
        <p:spPr>
          <a:xfrm>
            <a:off x="377825" y="1934308"/>
            <a:ext cx="11436350" cy="1730437"/>
          </a:xfrm>
          <a:prstGeom prst="rect">
            <a:avLst/>
          </a:prstGeom>
        </p:spPr>
        <p:txBody>
          <a:bodyPr/>
          <a:lstStyle>
            <a:lvl1pPr>
              <a:lnSpc>
                <a:spcPct val="85000"/>
              </a:lnSpc>
              <a:spcAft>
                <a:spcPts val="0"/>
              </a:spcAft>
              <a:defRPr sz="60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380486805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nd Imag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8"/>
            <a:ext cx="4588975" cy="3537744"/>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7D30181E-1562-794C-97AC-863F5C46B16E}"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5718175" cy="3537744"/>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788735409"/>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mage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2439194"/>
            <a:ext cx="4246200" cy="3024188"/>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5A566A35-143B-C74F-8812-12406DE193EE}"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6252175" y="2439194"/>
            <a:ext cx="5562000" cy="3024188"/>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115236701"/>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Two Images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225200"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CD077600-63C6-224A-844E-432091F8FAD3}"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377825"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3985419"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613795283"/>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Two Image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77825" y="1925637"/>
            <a:ext cx="4588975" cy="360180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5" name="Date Placeholder 4"/>
          <p:cNvSpPr>
            <a:spLocks noGrp="1"/>
          </p:cNvSpPr>
          <p:nvPr>
            <p:ph type="dt" sz="half" idx="10"/>
          </p:nvPr>
        </p:nvSpPr>
        <p:spPr/>
        <p:txBody>
          <a:bodyPr/>
          <a:lstStyle/>
          <a:p>
            <a:fld id="{F03B8D0D-AAA4-044B-9BDD-77A9840047A1}" type="datetime4">
              <a:rPr lang="en-US" smtClean="0"/>
              <a:t>September 24, 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9CC380D-5F44-41E8-971E-CDD19ED6F8E3}" type="slidenum">
              <a:rPr lang="en-GB" smtClean="0"/>
              <a:t>‹#›</a:t>
            </a:fld>
            <a:endParaRPr lang="en-GB"/>
          </a:p>
        </p:txBody>
      </p:sp>
      <p:sp>
        <p:nvSpPr>
          <p:cNvPr id="9" name="Picture Placeholder 8">
            <a:extLst>
              <a:ext uri="{FF2B5EF4-FFF2-40B4-BE49-F238E27FC236}">
                <a16:creationId xmlns:a16="http://schemas.microsoft.com/office/drawing/2014/main" id="{29F55C70-09CB-44D7-B3B4-B2ED40D94E7F}"/>
              </a:ext>
            </a:extLst>
          </p:cNvPr>
          <p:cNvSpPr>
            <a:spLocks noGrp="1"/>
          </p:cNvSpPr>
          <p:nvPr>
            <p:ph type="pic" sz="quarter" idx="13"/>
          </p:nvPr>
        </p:nvSpPr>
        <p:spPr>
          <a:xfrm>
            <a:off x="8205788" y="1925638"/>
            <a:ext cx="3607200" cy="19818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8">
            <a:extLst>
              <a:ext uri="{FF2B5EF4-FFF2-40B4-BE49-F238E27FC236}">
                <a16:creationId xmlns:a16="http://schemas.microsoft.com/office/drawing/2014/main" id="{373D2010-09BB-46C7-9406-54716849AF80}"/>
              </a:ext>
            </a:extLst>
          </p:cNvPr>
          <p:cNvSpPr>
            <a:spLocks noGrp="1"/>
          </p:cNvSpPr>
          <p:nvPr>
            <p:ph type="pic" sz="quarter" idx="14"/>
          </p:nvPr>
        </p:nvSpPr>
        <p:spPr>
          <a:xfrm>
            <a:off x="5944988" y="3907438"/>
            <a:ext cx="2260800" cy="16200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392408819"/>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9445752" cy="2200275"/>
          </a:xfrm>
        </p:spPr>
        <p:txBody>
          <a:bodyPr anchor="b"/>
          <a:lstStyle>
            <a:lvl1pPr algn="l">
              <a:defRPr sz="425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9445752" cy="2200275"/>
          </a:xfrm>
          <a:prstGeom prst="rect">
            <a:avLst/>
          </a:prstGeom>
        </p:spPr>
        <p:txBody>
          <a:bodyPr/>
          <a:lstStyle>
            <a:lvl1pPr marL="0" indent="0" algn="l">
              <a:buNone/>
              <a:defRPr sz="1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solidFill>
                  <a:schemeClr val="bg1"/>
                </a:solidFill>
              </a:defRPr>
            </a:lvl1pPr>
            <a:lvl2pPr>
              <a:defRPr sz="1200"/>
            </a:lvl2pPr>
            <a:lvl3pPr>
              <a:defRPr sz="1200"/>
            </a:lvl3pPr>
            <a:lvl4pPr>
              <a:defRPr sz="1200"/>
            </a:lvl4pPr>
            <a:lvl5pPr>
              <a:defRPr sz="1200"/>
            </a:lvl5pPr>
          </a:lstStyle>
          <a:p>
            <a:pPr lvl="0"/>
            <a:r>
              <a:rPr lang="en-US" dirty="0"/>
              <a:t>(month/day/year)</a:t>
            </a:r>
          </a:p>
        </p:txBody>
      </p:sp>
      <p:sp>
        <p:nvSpPr>
          <p:cNvPr id="10" name="Footer Placeholder 9">
            <a:extLst>
              <a:ext uri="{FF2B5EF4-FFF2-40B4-BE49-F238E27FC236}">
                <a16:creationId xmlns:a16="http://schemas.microsoft.com/office/drawing/2014/main" id="{58ADC44A-9213-B64D-A8AB-66BD30E027C6}"/>
              </a:ext>
            </a:extLst>
          </p:cNvPr>
          <p:cNvSpPr>
            <a:spLocks noGrp="1"/>
          </p:cNvSpPr>
          <p:nvPr>
            <p:ph type="ftr" sz="quarter" idx="12"/>
          </p:nvPr>
        </p:nvSpPr>
        <p:spPr/>
        <p:txBody>
          <a:bodyPr/>
          <a:lstStyle/>
          <a:p>
            <a:endParaRPr lang="en-GB" dirty="0"/>
          </a:p>
        </p:txBody>
      </p:sp>
      <p:pic>
        <p:nvPicPr>
          <p:cNvPr id="8" name="Picture 7">
            <a:extLst>
              <a:ext uri="{FF2B5EF4-FFF2-40B4-BE49-F238E27FC236}">
                <a16:creationId xmlns:a16="http://schemas.microsoft.com/office/drawing/2014/main" id="{7271F286-AC27-F946-A03C-5489E556B9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Tree>
    <p:extLst>
      <p:ext uri="{BB962C8B-B14F-4D97-AF65-F5344CB8AC3E}">
        <p14:creationId xmlns:p14="http://schemas.microsoft.com/office/powerpoint/2010/main" val="128735263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allout/Quot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0AEE9-0A7F-4479-B507-8B8082AFB159}"/>
              </a:ext>
            </a:extLst>
          </p:cNvPr>
          <p:cNvSpPr>
            <a:spLocks noGrp="1"/>
          </p:cNvSpPr>
          <p:nvPr>
            <p:ph type="title"/>
          </p:nvPr>
        </p:nvSpPr>
        <p:spPr>
          <a:xfrm>
            <a:off x="377825" y="1227932"/>
            <a:ext cx="9445752" cy="4265503"/>
          </a:xfrm>
        </p:spPr>
        <p:txBody>
          <a:bodyPr anchor="t"/>
          <a:lstStyle>
            <a:lvl1pPr>
              <a:defRPr sz="3600">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5D2A2D68-35A0-4566-A489-A0DCE0C90D34}"/>
              </a:ext>
            </a:extLst>
          </p:cNvPr>
          <p:cNvSpPr>
            <a:spLocks noGrp="1"/>
          </p:cNvSpPr>
          <p:nvPr>
            <p:ph type="dt" sz="half" idx="10"/>
          </p:nvPr>
        </p:nvSpPr>
        <p:spPr/>
        <p:txBody>
          <a:bodyPr/>
          <a:lstStyle/>
          <a:p>
            <a:fld id="{E29BBDF1-54A0-7848-BE17-E8C09DD7D4B5}" type="datetime4">
              <a:rPr lang="en-US" smtClean="0"/>
              <a:t>September 24, 2023</a:t>
            </a:fld>
            <a:endParaRPr lang="en-GB"/>
          </a:p>
        </p:txBody>
      </p:sp>
      <p:sp>
        <p:nvSpPr>
          <p:cNvPr id="4" name="Footer Placeholder 3">
            <a:extLst>
              <a:ext uri="{FF2B5EF4-FFF2-40B4-BE49-F238E27FC236}">
                <a16:creationId xmlns:a16="http://schemas.microsoft.com/office/drawing/2014/main" id="{6FE03DFB-39D8-48D7-A3E4-B542813DF43D}"/>
              </a:ext>
            </a:extLst>
          </p:cNvPr>
          <p:cNvSpPr>
            <a:spLocks noGrp="1"/>
          </p:cNvSpPr>
          <p:nvPr>
            <p:ph type="ftr" sz="quarter" idx="11"/>
          </p:nvPr>
        </p:nvSpPr>
        <p:spPr/>
        <p:txBody>
          <a:bodyPr/>
          <a:lstStyle>
            <a:lvl1pPr>
              <a:defRPr>
                <a:solidFill>
                  <a:srgbClr val="9EA7B3"/>
                </a:solidFill>
              </a:defRPr>
            </a:lvl1pPr>
          </a:lstStyle>
          <a:p>
            <a:endParaRPr lang="en-GB" dirty="0"/>
          </a:p>
        </p:txBody>
      </p:sp>
      <p:sp>
        <p:nvSpPr>
          <p:cNvPr id="5" name="Slide Number Placeholder 4">
            <a:extLst>
              <a:ext uri="{FF2B5EF4-FFF2-40B4-BE49-F238E27FC236}">
                <a16:creationId xmlns:a16="http://schemas.microsoft.com/office/drawing/2014/main" id="{DB422642-328A-4E13-BB21-565845D77077}"/>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7036F06-EA18-C44C-A97B-2279D3B41C1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1855135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884D7A4D-7018-0A48-8987-4BFB6342C803}"/>
              </a:ext>
            </a:extLst>
          </p:cNvPr>
          <p:cNvSpPr>
            <a:spLocks noGrp="1"/>
          </p:cNvSpPr>
          <p:nvPr>
            <p:ph type="dt" sz="half" idx="10"/>
          </p:nvPr>
        </p:nvSpPr>
        <p:spPr/>
        <p:txBody>
          <a:bodyPr/>
          <a:lstStyle/>
          <a:p>
            <a:fld id="{CFCEC296-2E91-F64C-A658-5F722A92785C}" type="datetime4">
              <a:rPr lang="en-US" smtClean="0"/>
              <a:t>September 24, 2023</a:t>
            </a:fld>
            <a:endParaRPr lang="en-GB"/>
          </a:p>
        </p:txBody>
      </p:sp>
      <p:sp>
        <p:nvSpPr>
          <p:cNvPr id="9" name="Footer Placeholder 8">
            <a:extLst>
              <a:ext uri="{FF2B5EF4-FFF2-40B4-BE49-F238E27FC236}">
                <a16:creationId xmlns:a16="http://schemas.microsoft.com/office/drawing/2014/main" id="{3AE9DA3B-483B-5046-BCF8-E4117B41B353}"/>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303A7C83-E23B-9145-B016-22F869302240}"/>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C9D17F-4A01-D84A-AD4C-F3C43A80CFE6}"/>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1529908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3E985336-9D22-364F-BF1E-A40BDAD62836}"/>
              </a:ext>
            </a:extLst>
          </p:cNvPr>
          <p:cNvSpPr>
            <a:spLocks noGrp="1"/>
          </p:cNvSpPr>
          <p:nvPr>
            <p:ph type="dt" sz="half" idx="10"/>
          </p:nvPr>
        </p:nvSpPr>
        <p:spPr/>
        <p:txBody>
          <a:bodyPr/>
          <a:lstStyle/>
          <a:p>
            <a:fld id="{C958A72C-3345-8048-84BB-36E8B29E1D5F}" type="datetime4">
              <a:rPr lang="en-US" smtClean="0"/>
              <a:t>September 24, 2023</a:t>
            </a:fld>
            <a:endParaRPr lang="en-GB"/>
          </a:p>
        </p:txBody>
      </p:sp>
      <p:sp>
        <p:nvSpPr>
          <p:cNvPr id="9" name="Footer Placeholder 8">
            <a:extLst>
              <a:ext uri="{FF2B5EF4-FFF2-40B4-BE49-F238E27FC236}">
                <a16:creationId xmlns:a16="http://schemas.microsoft.com/office/drawing/2014/main" id="{0E9AD67E-320D-D949-BDE9-CB17875DE337}"/>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7F668672-0CA3-7343-8BF8-BABC3A102F8A}"/>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E148F148-F7C2-E041-A072-90EB6611BB0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840410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1"/>
        </a:solidFill>
        <a:effectLst/>
      </p:bgPr>
    </p:bg>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A87D4353-F79D-E94B-AE2E-881A5001D68E}"/>
              </a:ext>
            </a:extLst>
          </p:cNvPr>
          <p:cNvSpPr>
            <a:spLocks noGrp="1"/>
          </p:cNvSpPr>
          <p:nvPr>
            <p:ph type="dt" sz="half" idx="10"/>
          </p:nvPr>
        </p:nvSpPr>
        <p:spPr/>
        <p:txBody>
          <a:bodyPr/>
          <a:lstStyle/>
          <a:p>
            <a:fld id="{646443B8-DE0F-FD44-8538-B0173A13CB5C}" type="datetime4">
              <a:rPr lang="en-US" smtClean="0"/>
              <a:t>September 24, 2023</a:t>
            </a:fld>
            <a:endParaRPr lang="en-GB"/>
          </a:p>
        </p:txBody>
      </p:sp>
      <p:sp>
        <p:nvSpPr>
          <p:cNvPr id="7" name="Footer Placeholder 6">
            <a:extLst>
              <a:ext uri="{FF2B5EF4-FFF2-40B4-BE49-F238E27FC236}">
                <a16:creationId xmlns:a16="http://schemas.microsoft.com/office/drawing/2014/main" id="{0AB1989F-C117-0841-AE56-C08131A7DEA2}"/>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8B469D0C-F673-4848-97B6-BE8BC5C414D6}"/>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0" name="Title 1">
            <a:extLst>
              <a:ext uri="{FF2B5EF4-FFF2-40B4-BE49-F238E27FC236}">
                <a16:creationId xmlns:a16="http://schemas.microsoft.com/office/drawing/2014/main" id="{36030242-72B6-C147-A221-DF279D6BEC90}"/>
              </a:ext>
            </a:extLst>
          </p:cNvPr>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11" name="Text Placeholder 2">
            <a:extLst>
              <a:ext uri="{FF2B5EF4-FFF2-40B4-BE49-F238E27FC236}">
                <a16:creationId xmlns:a16="http://schemas.microsoft.com/office/drawing/2014/main" id="{CF58DCED-9CC2-A241-A902-5C1F3C42B887}"/>
              </a:ext>
            </a:extLst>
          </p:cNvPr>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D5AF0BF4-8250-E446-837B-5EA9534F37B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8537340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096000" y="0"/>
            <a:ext cx="6096001" cy="6381750"/>
          </a:xfrm>
          <a:prstGeom prst="rect">
            <a:avLst/>
          </a:prstGeom>
          <a:solidFill>
            <a:schemeClr val="bg1">
              <a:lumMod val="85000"/>
            </a:schemeClr>
          </a:solidFill>
        </p:spPr>
        <p:txBody>
          <a:bodyPr/>
          <a:lstStyle/>
          <a:p>
            <a:r>
              <a:rPr lang="en-US"/>
              <a:t>Click icon to add picture</a:t>
            </a:r>
            <a:endParaRPr lang="en-GB"/>
          </a:p>
        </p:txBody>
      </p:sp>
      <p:sp>
        <p:nvSpPr>
          <p:cNvPr id="15" name="Date Placeholder 14">
            <a:extLst>
              <a:ext uri="{FF2B5EF4-FFF2-40B4-BE49-F238E27FC236}">
                <a16:creationId xmlns:a16="http://schemas.microsoft.com/office/drawing/2014/main" id="{3C5C1224-3420-BD4C-AB03-597E49156B53}"/>
              </a:ext>
            </a:extLst>
          </p:cNvPr>
          <p:cNvSpPr>
            <a:spLocks noGrp="1"/>
          </p:cNvSpPr>
          <p:nvPr>
            <p:ph type="dt" sz="half" idx="14"/>
          </p:nvPr>
        </p:nvSpPr>
        <p:spPr/>
        <p:txBody>
          <a:bodyPr/>
          <a:lstStyle/>
          <a:p>
            <a:fld id="{B2968ACE-AF19-3041-ACD6-427E5021CCDD}" type="datetime4">
              <a:rPr lang="en-US" smtClean="0"/>
              <a:t>September 24, 2023</a:t>
            </a:fld>
            <a:endParaRPr lang="en-GB"/>
          </a:p>
        </p:txBody>
      </p:sp>
      <p:sp>
        <p:nvSpPr>
          <p:cNvPr id="16" name="Footer Placeholder 15">
            <a:extLst>
              <a:ext uri="{FF2B5EF4-FFF2-40B4-BE49-F238E27FC236}">
                <a16:creationId xmlns:a16="http://schemas.microsoft.com/office/drawing/2014/main" id="{30E31E45-BD7C-2244-A5AA-6B9A4DD18F08}"/>
              </a:ext>
            </a:extLst>
          </p:cNvPr>
          <p:cNvSpPr>
            <a:spLocks noGrp="1"/>
          </p:cNvSpPr>
          <p:nvPr>
            <p:ph type="ftr" sz="quarter" idx="15"/>
          </p:nvPr>
        </p:nvSpPr>
        <p:spPr/>
        <p:txBody>
          <a:bodyPr/>
          <a:lstStyle/>
          <a:p>
            <a:endParaRPr lang="en-GB" dirty="0"/>
          </a:p>
        </p:txBody>
      </p:sp>
      <p:sp>
        <p:nvSpPr>
          <p:cNvPr id="17" name="Slide Number Placeholder 16">
            <a:extLst>
              <a:ext uri="{FF2B5EF4-FFF2-40B4-BE49-F238E27FC236}">
                <a16:creationId xmlns:a16="http://schemas.microsoft.com/office/drawing/2014/main" id="{312DB7C9-9D63-8443-A5FD-D086C0E4DD37}"/>
              </a:ext>
            </a:extLst>
          </p:cNvPr>
          <p:cNvSpPr>
            <a:spLocks noGrp="1"/>
          </p:cNvSpPr>
          <p:nvPr>
            <p:ph type="sldNum" sz="quarter" idx="16"/>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3143410C-D5EE-774D-935A-8E4F028A506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4189422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8052000" y="0"/>
            <a:ext cx="4140000" cy="4384800"/>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6096000" y="4384800"/>
            <a:ext cx="1956000" cy="19969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F1DABA81-09CA-2445-94F5-E8C5860AE59F}"/>
              </a:ext>
            </a:extLst>
          </p:cNvPr>
          <p:cNvSpPr>
            <a:spLocks noGrp="1"/>
          </p:cNvSpPr>
          <p:nvPr>
            <p:ph type="dt" sz="half" idx="15"/>
          </p:nvPr>
        </p:nvSpPr>
        <p:spPr/>
        <p:txBody>
          <a:bodyPr/>
          <a:lstStyle/>
          <a:p>
            <a:fld id="{BD9622A0-B4DA-AB4C-98CE-E6395845296C}" type="datetime4">
              <a:rPr lang="en-US" smtClean="0"/>
              <a:t>September 24, 2023</a:t>
            </a:fld>
            <a:endParaRPr lang="en-GB"/>
          </a:p>
        </p:txBody>
      </p:sp>
      <p:sp>
        <p:nvSpPr>
          <p:cNvPr id="7" name="Footer Placeholder 6">
            <a:extLst>
              <a:ext uri="{FF2B5EF4-FFF2-40B4-BE49-F238E27FC236}">
                <a16:creationId xmlns:a16="http://schemas.microsoft.com/office/drawing/2014/main" id="{8B1A2F9A-5ACE-794A-BD66-D670CFEBB357}"/>
              </a:ext>
            </a:extLst>
          </p:cNvPr>
          <p:cNvSpPr>
            <a:spLocks noGrp="1"/>
          </p:cNvSpPr>
          <p:nvPr>
            <p:ph type="ftr" sz="quarter" idx="16"/>
          </p:nvPr>
        </p:nvSpPr>
        <p:spPr/>
        <p:txBody>
          <a:bodyPr/>
          <a:lstStyle/>
          <a:p>
            <a:endParaRPr lang="en-GB" dirty="0"/>
          </a:p>
        </p:txBody>
      </p:sp>
      <p:sp>
        <p:nvSpPr>
          <p:cNvPr id="9" name="Slide Number Placeholder 8">
            <a:extLst>
              <a:ext uri="{FF2B5EF4-FFF2-40B4-BE49-F238E27FC236}">
                <a16:creationId xmlns:a16="http://schemas.microsoft.com/office/drawing/2014/main" id="{F1B9B6D6-A74F-7342-B26B-5A03F20C864B}"/>
              </a:ext>
            </a:extLst>
          </p:cNvPr>
          <p:cNvSpPr>
            <a:spLocks noGrp="1"/>
          </p:cNvSpPr>
          <p:nvPr>
            <p:ph type="sldNum" sz="quarter" idx="17"/>
          </p:nvPr>
        </p:nvSpPr>
        <p:spPr/>
        <p:txBody>
          <a:bodyPr/>
          <a:lstStyle/>
          <a:p>
            <a:fld id="{29CC380D-5F44-41E8-971E-CDD19ED6F8E3}" type="slidenum">
              <a:rPr lang="en-GB" smtClean="0"/>
              <a:pPr/>
              <a:t>‹#›</a:t>
            </a:fld>
            <a:endParaRPr lang="en-GB"/>
          </a:p>
        </p:txBody>
      </p:sp>
      <p:pic>
        <p:nvPicPr>
          <p:cNvPr id="12" name="Picture 11">
            <a:extLst>
              <a:ext uri="{FF2B5EF4-FFF2-40B4-BE49-F238E27FC236}">
                <a16:creationId xmlns:a16="http://schemas.microsoft.com/office/drawing/2014/main" id="{7222C5BA-E246-C240-8053-0C72324AC5B0}"/>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33039120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4590000"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3608388"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Picture Placeholder 4">
            <a:extLst>
              <a:ext uri="{FF2B5EF4-FFF2-40B4-BE49-F238E27FC236}">
                <a16:creationId xmlns:a16="http://schemas.microsoft.com/office/drawing/2014/main" id="{DF22C6B2-3601-40B5-A63A-084FE28E5762}"/>
              </a:ext>
            </a:extLst>
          </p:cNvPr>
          <p:cNvSpPr>
            <a:spLocks noGrp="1"/>
          </p:cNvSpPr>
          <p:nvPr>
            <p:ph type="pic" sz="quarter" idx="13"/>
          </p:nvPr>
        </p:nvSpPr>
        <p:spPr>
          <a:xfrm>
            <a:off x="6135000" y="-1"/>
            <a:ext cx="4140000" cy="3595125"/>
          </a:xfrm>
          <a:prstGeom prst="rect">
            <a:avLst/>
          </a:prstGeom>
          <a:solidFill>
            <a:schemeClr val="bg1">
              <a:lumMod val="85000"/>
            </a:schemeClr>
          </a:solidFill>
        </p:spPr>
        <p:txBody>
          <a:bodyPr/>
          <a:lstStyle/>
          <a:p>
            <a:r>
              <a:rPr lang="en-US"/>
              <a:t>Click icon to add picture</a:t>
            </a:r>
            <a:endParaRPr lang="en-GB"/>
          </a:p>
        </p:txBody>
      </p:sp>
      <p:sp>
        <p:nvSpPr>
          <p:cNvPr id="10" name="Picture Placeholder 4">
            <a:extLst>
              <a:ext uri="{FF2B5EF4-FFF2-40B4-BE49-F238E27FC236}">
                <a16:creationId xmlns:a16="http://schemas.microsoft.com/office/drawing/2014/main" id="{5BD02FF6-E8C6-4907-A5E5-4B6BC632719B}"/>
              </a:ext>
            </a:extLst>
          </p:cNvPr>
          <p:cNvSpPr>
            <a:spLocks noGrp="1"/>
          </p:cNvSpPr>
          <p:nvPr>
            <p:ph type="pic" sz="quarter" idx="14"/>
          </p:nvPr>
        </p:nvSpPr>
        <p:spPr>
          <a:xfrm>
            <a:off x="10275000" y="3595125"/>
            <a:ext cx="1917000" cy="1705876"/>
          </a:xfrm>
          <a:prstGeom prst="rect">
            <a:avLst/>
          </a:prstGeom>
          <a:solidFill>
            <a:schemeClr val="bg1">
              <a:lumMod val="85000"/>
            </a:schemeClr>
          </a:solidFill>
        </p:spPr>
        <p:txBody>
          <a:bodyPr/>
          <a:lstStyle/>
          <a:p>
            <a:r>
              <a:rPr lang="en-US"/>
              <a:t>Click icon to add picture</a:t>
            </a:r>
            <a:endParaRPr lang="en-GB"/>
          </a:p>
        </p:txBody>
      </p:sp>
      <p:sp>
        <p:nvSpPr>
          <p:cNvPr id="11" name="Picture Placeholder 4">
            <a:extLst>
              <a:ext uri="{FF2B5EF4-FFF2-40B4-BE49-F238E27FC236}">
                <a16:creationId xmlns:a16="http://schemas.microsoft.com/office/drawing/2014/main" id="{E1798D99-AE73-44D3-BA8B-DA609105C499}"/>
              </a:ext>
            </a:extLst>
          </p:cNvPr>
          <p:cNvSpPr>
            <a:spLocks noGrp="1"/>
          </p:cNvSpPr>
          <p:nvPr>
            <p:ph type="pic" sz="quarter" idx="15"/>
          </p:nvPr>
        </p:nvSpPr>
        <p:spPr>
          <a:xfrm>
            <a:off x="8930400" y="5301000"/>
            <a:ext cx="1344600" cy="1080750"/>
          </a:xfrm>
          <a:prstGeom prst="rect">
            <a:avLst/>
          </a:prstGeom>
          <a:solidFill>
            <a:schemeClr val="bg1">
              <a:lumMod val="85000"/>
            </a:schemeClr>
          </a:solidFill>
        </p:spPr>
        <p:txBody>
          <a:bodyPr/>
          <a:lstStyle/>
          <a:p>
            <a:r>
              <a:rPr lang="en-US"/>
              <a:t>Click icon to add picture</a:t>
            </a:r>
            <a:endParaRPr lang="en-GB"/>
          </a:p>
        </p:txBody>
      </p:sp>
      <p:sp>
        <p:nvSpPr>
          <p:cNvPr id="6" name="Date Placeholder 5">
            <a:extLst>
              <a:ext uri="{FF2B5EF4-FFF2-40B4-BE49-F238E27FC236}">
                <a16:creationId xmlns:a16="http://schemas.microsoft.com/office/drawing/2014/main" id="{51295CCF-38D8-0949-8CA7-B8F50CCEBFDC}"/>
              </a:ext>
            </a:extLst>
          </p:cNvPr>
          <p:cNvSpPr>
            <a:spLocks noGrp="1"/>
          </p:cNvSpPr>
          <p:nvPr>
            <p:ph type="dt" sz="half" idx="16"/>
          </p:nvPr>
        </p:nvSpPr>
        <p:spPr/>
        <p:txBody>
          <a:bodyPr/>
          <a:lstStyle/>
          <a:p>
            <a:fld id="{175948ED-22D6-FD45-A9F4-17FAF5946A7A}" type="datetime4">
              <a:rPr lang="en-US" smtClean="0"/>
              <a:t>September 24, 2023</a:t>
            </a:fld>
            <a:endParaRPr lang="en-GB"/>
          </a:p>
        </p:txBody>
      </p:sp>
      <p:sp>
        <p:nvSpPr>
          <p:cNvPr id="7" name="Footer Placeholder 6">
            <a:extLst>
              <a:ext uri="{FF2B5EF4-FFF2-40B4-BE49-F238E27FC236}">
                <a16:creationId xmlns:a16="http://schemas.microsoft.com/office/drawing/2014/main" id="{51798A22-719C-AD4E-A2E4-6E589B424B38}"/>
              </a:ext>
            </a:extLst>
          </p:cNvPr>
          <p:cNvSpPr>
            <a:spLocks noGrp="1"/>
          </p:cNvSpPr>
          <p:nvPr>
            <p:ph type="ftr" sz="quarter" idx="17"/>
          </p:nvPr>
        </p:nvSpPr>
        <p:spPr/>
        <p:txBody>
          <a:bodyPr/>
          <a:lstStyle/>
          <a:p>
            <a:endParaRPr lang="en-GB" dirty="0"/>
          </a:p>
        </p:txBody>
      </p:sp>
      <p:sp>
        <p:nvSpPr>
          <p:cNvPr id="9" name="Slide Number Placeholder 8">
            <a:extLst>
              <a:ext uri="{FF2B5EF4-FFF2-40B4-BE49-F238E27FC236}">
                <a16:creationId xmlns:a16="http://schemas.microsoft.com/office/drawing/2014/main" id="{267CDEA8-12CF-E54D-872A-A3A7C01687CF}"/>
              </a:ext>
            </a:extLst>
          </p:cNvPr>
          <p:cNvSpPr>
            <a:spLocks noGrp="1"/>
          </p:cNvSpPr>
          <p:nvPr>
            <p:ph type="sldNum" sz="quarter" idx="18"/>
          </p:nvPr>
        </p:nvSpPr>
        <p:spPr/>
        <p:txBody>
          <a:bodyPr/>
          <a:lstStyle/>
          <a:p>
            <a:fld id="{29CC380D-5F44-41E8-971E-CDD19ED6F8E3}" type="slidenum">
              <a:rPr lang="en-GB" smtClean="0"/>
              <a:pPr/>
              <a:t>‹#›</a:t>
            </a:fld>
            <a:endParaRPr lang="en-GB"/>
          </a:p>
        </p:txBody>
      </p:sp>
      <p:pic>
        <p:nvPicPr>
          <p:cNvPr id="13" name="Picture 12">
            <a:extLst>
              <a:ext uri="{FF2B5EF4-FFF2-40B4-BE49-F238E27FC236}">
                <a16:creationId xmlns:a16="http://schemas.microsoft.com/office/drawing/2014/main" id="{0CBABCDE-63B5-7C46-821D-F3064414E3A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98831212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White">
    <p:spTree>
      <p:nvGrpSpPr>
        <p:cNvPr id="1" name=""/>
        <p:cNvGrpSpPr/>
        <p:nvPr/>
      </p:nvGrpSpPr>
      <p:grpSpPr>
        <a:xfrm>
          <a:off x="0" y="0"/>
          <a:ext cx="0" cy="0"/>
          <a:chOff x="0" y="0"/>
          <a:chExt cx="0" cy="0"/>
        </a:xfrm>
      </p:grpSpPr>
      <p:sp>
        <p:nvSpPr>
          <p:cNvPr id="2" name="Title 1"/>
          <p:cNvSpPr>
            <a:spLocks noGrp="1"/>
          </p:cNvSpPr>
          <p:nvPr>
            <p:ph type="title"/>
          </p:nvPr>
        </p:nvSpPr>
        <p:spPr>
          <a:xfrm>
            <a:off x="377825" y="1227932"/>
            <a:ext cx="9445752" cy="2152469"/>
          </a:xfrm>
        </p:spPr>
        <p:txBody>
          <a:bodyPr anchor="b"/>
          <a:lstStyle>
            <a:lvl1pPr>
              <a:defRPr sz="575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574FF2D4-8454-424E-964D-3669665990AC}"/>
              </a:ext>
            </a:extLst>
          </p:cNvPr>
          <p:cNvSpPr>
            <a:spLocks noGrp="1"/>
          </p:cNvSpPr>
          <p:nvPr>
            <p:ph type="dt" sz="half" idx="10"/>
          </p:nvPr>
        </p:nvSpPr>
        <p:spPr/>
        <p:txBody>
          <a:bodyPr/>
          <a:lstStyle/>
          <a:p>
            <a:fld id="{FDFD5127-EAB8-804B-8CE7-159BEF7EAD6B}" type="datetime4">
              <a:rPr lang="en-US" smtClean="0"/>
              <a:t>September 24, 2023</a:t>
            </a:fld>
            <a:endParaRPr lang="en-GB"/>
          </a:p>
        </p:txBody>
      </p:sp>
      <p:sp>
        <p:nvSpPr>
          <p:cNvPr id="9" name="Footer Placeholder 8">
            <a:extLst>
              <a:ext uri="{FF2B5EF4-FFF2-40B4-BE49-F238E27FC236}">
                <a16:creationId xmlns:a16="http://schemas.microsoft.com/office/drawing/2014/main" id="{7BEFFA1A-D493-0248-84A1-3307B141E190}"/>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AB079903-BBE1-444C-BA56-1EE190409483}"/>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8" name="Picture 7">
            <a:extLst>
              <a:ext uri="{FF2B5EF4-FFF2-40B4-BE49-F238E27FC236}">
                <a16:creationId xmlns:a16="http://schemas.microsoft.com/office/drawing/2014/main" id="{A2F08F49-0018-894A-B2B3-3C5CDB861D4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56555886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Blank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D7FC7E27-D871-8949-9F84-A0609968C897}"/>
              </a:ext>
            </a:extLst>
          </p:cNvPr>
          <p:cNvSpPr>
            <a:spLocks noGrp="1"/>
          </p:cNvSpPr>
          <p:nvPr>
            <p:ph type="dt" sz="half" idx="10"/>
          </p:nvPr>
        </p:nvSpPr>
        <p:spPr/>
        <p:txBody>
          <a:bodyPr/>
          <a:lstStyle/>
          <a:p>
            <a:fld id="{1063785C-D633-4C44-AC92-BDEB3F834037}" type="datetime4">
              <a:rPr lang="en-US" smtClean="0"/>
              <a:t>September 24, 2023</a:t>
            </a:fld>
            <a:endParaRPr lang="en-GB"/>
          </a:p>
        </p:txBody>
      </p:sp>
      <p:sp>
        <p:nvSpPr>
          <p:cNvPr id="7" name="Footer Placeholder 6">
            <a:extLst>
              <a:ext uri="{FF2B5EF4-FFF2-40B4-BE49-F238E27FC236}">
                <a16:creationId xmlns:a16="http://schemas.microsoft.com/office/drawing/2014/main" id="{633CB020-10CB-D247-9419-79BE58506B61}"/>
              </a:ext>
            </a:extLst>
          </p:cNvPr>
          <p:cNvSpPr>
            <a:spLocks noGrp="1"/>
          </p:cNvSpPr>
          <p:nvPr>
            <p:ph type="ftr" sz="quarter" idx="11"/>
          </p:nvPr>
        </p:nvSpPr>
        <p:spPr/>
        <p:txBody>
          <a:bodyPr/>
          <a:lstStyle/>
          <a:p>
            <a:endParaRPr lang="en-GB" dirty="0"/>
          </a:p>
        </p:txBody>
      </p:sp>
      <p:sp>
        <p:nvSpPr>
          <p:cNvPr id="10" name="Slide Number Placeholder 9">
            <a:extLst>
              <a:ext uri="{FF2B5EF4-FFF2-40B4-BE49-F238E27FC236}">
                <a16:creationId xmlns:a16="http://schemas.microsoft.com/office/drawing/2014/main" id="{FD25391D-0555-F04A-AD64-9D10509B6428}"/>
              </a:ext>
            </a:extLst>
          </p:cNvPr>
          <p:cNvSpPr>
            <a:spLocks noGrp="1"/>
          </p:cNvSpPr>
          <p:nvPr>
            <p:ph type="sldNum" sz="quarter" idx="12"/>
          </p:nvPr>
        </p:nvSpPr>
        <p:spPr/>
        <p:txBody>
          <a:bodyPr/>
          <a:lstStyle/>
          <a:p>
            <a:fld id="{29CC380D-5F44-41E8-971E-CDD19ED6F8E3}" type="slidenum">
              <a:rPr lang="en-GB" smtClean="0"/>
              <a:pPr/>
              <a:t>‹#›</a:t>
            </a:fld>
            <a:endParaRPr lang="en-GB"/>
          </a:p>
        </p:txBody>
      </p:sp>
      <p:pic>
        <p:nvPicPr>
          <p:cNvPr id="9" name="Picture 8">
            <a:extLst>
              <a:ext uri="{FF2B5EF4-FFF2-40B4-BE49-F238E27FC236}">
                <a16:creationId xmlns:a16="http://schemas.microsoft.com/office/drawing/2014/main" id="{4E09CE8B-E861-8540-998D-CA8F3DC4D0AB}"/>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37551871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x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ABC83506-EC7E-5F4F-9866-B9EA42BE1A48}" type="datetime4">
              <a:rPr lang="en-US" smtClean="0"/>
              <a:t>September 24,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2336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8204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3A1C0D48-6745-44FE-81AC-9E3EB1E2DECC}"/>
              </a:ext>
            </a:extLst>
          </p:cNvPr>
          <p:cNvSpPr>
            <a:spLocks noGrp="1" noChangeAspect="1"/>
          </p:cNvSpPr>
          <p:nvPr>
            <p:ph type="pic" sz="quarter" idx="18"/>
          </p:nvPr>
        </p:nvSpPr>
        <p:spPr>
          <a:xfrm>
            <a:off x="2336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62FA97E8-4519-4739-B895-55612F78257D}"/>
              </a:ext>
            </a:extLst>
          </p:cNvPr>
          <p:cNvSpPr>
            <a:spLocks noGrp="1" noChangeAspect="1"/>
          </p:cNvSpPr>
          <p:nvPr>
            <p:ph type="pic" sz="quarter" idx="19"/>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B5432D3A-C3C9-4B63-96CD-241A721F1380}"/>
              </a:ext>
            </a:extLst>
          </p:cNvPr>
          <p:cNvSpPr>
            <a:spLocks noGrp="1" noChangeAspect="1"/>
          </p:cNvSpPr>
          <p:nvPr>
            <p:ph type="pic" sz="quarter" idx="20"/>
          </p:nvPr>
        </p:nvSpPr>
        <p:spPr>
          <a:xfrm>
            <a:off x="8204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2336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8204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3" name="Text Placeholder 17">
            <a:extLst>
              <a:ext uri="{FF2B5EF4-FFF2-40B4-BE49-F238E27FC236}">
                <a16:creationId xmlns:a16="http://schemas.microsoft.com/office/drawing/2014/main" id="{DCE95CF4-5CBF-4291-A2EE-D5DE9E6B9DFA}"/>
              </a:ext>
            </a:extLst>
          </p:cNvPr>
          <p:cNvSpPr>
            <a:spLocks noGrp="1"/>
          </p:cNvSpPr>
          <p:nvPr>
            <p:ph type="body" sz="quarter" idx="28"/>
          </p:nvPr>
        </p:nvSpPr>
        <p:spPr>
          <a:xfrm>
            <a:off x="2336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4" name="Text Placeholder 17">
            <a:extLst>
              <a:ext uri="{FF2B5EF4-FFF2-40B4-BE49-F238E27FC236}">
                <a16:creationId xmlns:a16="http://schemas.microsoft.com/office/drawing/2014/main" id="{5D1BABBE-6978-4D02-8163-974D5CE637CA}"/>
              </a:ext>
            </a:extLst>
          </p:cNvPr>
          <p:cNvSpPr>
            <a:spLocks noGrp="1"/>
          </p:cNvSpPr>
          <p:nvPr>
            <p:ph type="body" sz="quarter" idx="29"/>
          </p:nvPr>
        </p:nvSpPr>
        <p:spPr>
          <a:xfrm>
            <a:off x="5270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5" name="Text Placeholder 17">
            <a:extLst>
              <a:ext uri="{FF2B5EF4-FFF2-40B4-BE49-F238E27FC236}">
                <a16:creationId xmlns:a16="http://schemas.microsoft.com/office/drawing/2014/main" id="{6638213F-5B32-4E08-8CF4-7C45D4AFBD89}"/>
              </a:ext>
            </a:extLst>
          </p:cNvPr>
          <p:cNvSpPr>
            <a:spLocks noGrp="1"/>
          </p:cNvSpPr>
          <p:nvPr>
            <p:ph type="body" sz="quarter" idx="30"/>
          </p:nvPr>
        </p:nvSpPr>
        <p:spPr>
          <a:xfrm>
            <a:off x="8204400" y="5714188"/>
            <a:ext cx="1650600" cy="252000"/>
          </a:xfrm>
          <a:prstGeom prst="rect">
            <a:avLst/>
          </a:prstGeom>
        </p:spPr>
        <p:txBody>
          <a:bodyPr anchor="ctr"/>
          <a:lstStyle>
            <a:lvl1pPr algn="ctr">
              <a:spcAft>
                <a:spcPts val="0"/>
              </a:spcAft>
              <a:defRPr/>
            </a:lvl1pPr>
          </a:lstStyle>
          <a:p>
            <a:pPr lvl="0"/>
            <a:r>
              <a:rPr lang="en-US"/>
              <a:t>Click to edit Master text styles</a:t>
            </a:r>
          </a:p>
        </p:txBody>
      </p:sp>
    </p:spTree>
    <p:extLst>
      <p:ext uri="{BB962C8B-B14F-4D97-AF65-F5344CB8AC3E}">
        <p14:creationId xmlns:p14="http://schemas.microsoft.com/office/powerpoint/2010/main" val="11945441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096000" y="0"/>
            <a:ext cx="6096001" cy="60966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5718000" y="60966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2" name="Footer Placeholder 11">
            <a:extLst>
              <a:ext uri="{FF2B5EF4-FFF2-40B4-BE49-F238E27FC236}">
                <a16:creationId xmlns:a16="http://schemas.microsoft.com/office/drawing/2014/main" id="{4C9BF2E3-EA9C-7F4B-9DDD-A42D8C853D72}"/>
              </a:ext>
            </a:extLst>
          </p:cNvPr>
          <p:cNvSpPr>
            <a:spLocks noGrp="1"/>
          </p:cNvSpPr>
          <p:nvPr>
            <p:ph type="ftr" sz="quarter" idx="13"/>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13BE3CBF-B0C1-964C-97A5-74D9CF1994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00726616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n Images and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4FD4B-0143-44B2-AF27-F38BEA0C9B78}"/>
              </a:ext>
            </a:extLst>
          </p:cNvPr>
          <p:cNvSpPr>
            <a:spLocks noGrp="1"/>
          </p:cNvSpPr>
          <p:nvPr>
            <p:ph type="title"/>
          </p:nvPr>
        </p:nvSpPr>
        <p:spPr>
          <a:xfrm>
            <a:off x="377825" y="377825"/>
            <a:ext cx="11436350" cy="85010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BFDAD9-6320-48A9-B45C-F84E2C98332A}"/>
              </a:ext>
            </a:extLst>
          </p:cNvPr>
          <p:cNvSpPr>
            <a:spLocks noGrp="1"/>
          </p:cNvSpPr>
          <p:nvPr>
            <p:ph type="dt" sz="half" idx="10"/>
          </p:nvPr>
        </p:nvSpPr>
        <p:spPr/>
        <p:txBody>
          <a:bodyPr/>
          <a:lstStyle/>
          <a:p>
            <a:fld id="{4F84BF03-830B-D644-B48B-9F693DBA2435}" type="datetime4">
              <a:rPr lang="en-US" smtClean="0"/>
              <a:t>September 24, 2023</a:t>
            </a:fld>
            <a:endParaRPr lang="en-GB"/>
          </a:p>
        </p:txBody>
      </p:sp>
      <p:sp>
        <p:nvSpPr>
          <p:cNvPr id="4" name="Footer Placeholder 3">
            <a:extLst>
              <a:ext uri="{FF2B5EF4-FFF2-40B4-BE49-F238E27FC236}">
                <a16:creationId xmlns:a16="http://schemas.microsoft.com/office/drawing/2014/main" id="{22855E69-8D16-4484-9996-C9113A31799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2F07556-384E-4545-9AB5-A0F93C782A07}"/>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7" name="Picture Placeholder 6">
            <a:extLst>
              <a:ext uri="{FF2B5EF4-FFF2-40B4-BE49-F238E27FC236}">
                <a16:creationId xmlns:a16="http://schemas.microsoft.com/office/drawing/2014/main" id="{ED95A2FD-1DC7-4D29-86A8-51D546E3A2C4}"/>
              </a:ext>
            </a:extLst>
          </p:cNvPr>
          <p:cNvSpPr>
            <a:spLocks noGrp="1" noChangeAspect="1"/>
          </p:cNvSpPr>
          <p:nvPr>
            <p:ph type="pic" sz="quarter" idx="13"/>
          </p:nvPr>
        </p:nvSpPr>
        <p:spPr>
          <a:xfrm>
            <a:off x="13590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8" name="Picture Placeholder 6">
            <a:extLst>
              <a:ext uri="{FF2B5EF4-FFF2-40B4-BE49-F238E27FC236}">
                <a16:creationId xmlns:a16="http://schemas.microsoft.com/office/drawing/2014/main" id="{837F4A05-B3B3-429B-B6AF-4AAC8FF0B597}"/>
              </a:ext>
            </a:extLst>
          </p:cNvPr>
          <p:cNvSpPr>
            <a:spLocks noGrp="1" noChangeAspect="1"/>
          </p:cNvSpPr>
          <p:nvPr>
            <p:ph type="pic" sz="quarter" idx="14"/>
          </p:nvPr>
        </p:nvSpPr>
        <p:spPr>
          <a:xfrm>
            <a:off x="33147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9" name="Picture Placeholder 6">
            <a:extLst>
              <a:ext uri="{FF2B5EF4-FFF2-40B4-BE49-F238E27FC236}">
                <a16:creationId xmlns:a16="http://schemas.microsoft.com/office/drawing/2014/main" id="{A7E5C1B1-79BD-4C2B-8DF6-AAAFDC31D4EA}"/>
              </a:ext>
            </a:extLst>
          </p:cNvPr>
          <p:cNvSpPr>
            <a:spLocks noGrp="1" noChangeAspect="1"/>
          </p:cNvSpPr>
          <p:nvPr>
            <p:ph type="pic" sz="quarter" idx="15"/>
          </p:nvPr>
        </p:nvSpPr>
        <p:spPr>
          <a:xfrm>
            <a:off x="52704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18" name="Text Placeholder 17">
            <a:extLst>
              <a:ext uri="{FF2B5EF4-FFF2-40B4-BE49-F238E27FC236}">
                <a16:creationId xmlns:a16="http://schemas.microsoft.com/office/drawing/2014/main" id="{B1A0F457-BA31-458F-B36F-869F673ADA62}"/>
              </a:ext>
            </a:extLst>
          </p:cNvPr>
          <p:cNvSpPr>
            <a:spLocks noGrp="1"/>
          </p:cNvSpPr>
          <p:nvPr>
            <p:ph type="body" sz="quarter" idx="23"/>
          </p:nvPr>
        </p:nvSpPr>
        <p:spPr>
          <a:xfrm>
            <a:off x="13590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19" name="Text Placeholder 17">
            <a:extLst>
              <a:ext uri="{FF2B5EF4-FFF2-40B4-BE49-F238E27FC236}">
                <a16:creationId xmlns:a16="http://schemas.microsoft.com/office/drawing/2014/main" id="{5C675381-77C0-419D-99B9-16471F4F9AE1}"/>
              </a:ext>
            </a:extLst>
          </p:cNvPr>
          <p:cNvSpPr>
            <a:spLocks noGrp="1"/>
          </p:cNvSpPr>
          <p:nvPr>
            <p:ph type="body" sz="quarter" idx="24"/>
          </p:nvPr>
        </p:nvSpPr>
        <p:spPr>
          <a:xfrm>
            <a:off x="33147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33EE2B0-3C6A-4F7E-BD70-00D5834A151A}"/>
              </a:ext>
            </a:extLst>
          </p:cNvPr>
          <p:cNvSpPr>
            <a:spLocks noGrp="1"/>
          </p:cNvSpPr>
          <p:nvPr>
            <p:ph type="body" sz="quarter" idx="25"/>
          </p:nvPr>
        </p:nvSpPr>
        <p:spPr>
          <a:xfrm>
            <a:off x="52704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1" name="Picture Placeholder 6">
            <a:extLst>
              <a:ext uri="{FF2B5EF4-FFF2-40B4-BE49-F238E27FC236}">
                <a16:creationId xmlns:a16="http://schemas.microsoft.com/office/drawing/2014/main" id="{F0F2B2CB-3337-458C-8742-CD64EDBB5A7B}"/>
              </a:ext>
            </a:extLst>
          </p:cNvPr>
          <p:cNvSpPr>
            <a:spLocks noGrp="1" noChangeAspect="1"/>
          </p:cNvSpPr>
          <p:nvPr>
            <p:ph type="pic" sz="quarter" idx="26"/>
          </p:nvPr>
        </p:nvSpPr>
        <p:spPr>
          <a:xfrm>
            <a:off x="72261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2" name="Picture Placeholder 6">
            <a:extLst>
              <a:ext uri="{FF2B5EF4-FFF2-40B4-BE49-F238E27FC236}">
                <a16:creationId xmlns:a16="http://schemas.microsoft.com/office/drawing/2014/main" id="{06226EB7-DC79-4415-9F31-120925FC7DB0}"/>
              </a:ext>
            </a:extLst>
          </p:cNvPr>
          <p:cNvSpPr>
            <a:spLocks noGrp="1" noChangeAspect="1"/>
          </p:cNvSpPr>
          <p:nvPr>
            <p:ph type="pic" sz="quarter" idx="27"/>
          </p:nvPr>
        </p:nvSpPr>
        <p:spPr>
          <a:xfrm>
            <a:off x="9181800" y="1925638"/>
            <a:ext cx="1650600" cy="1650600"/>
          </a:xfrm>
          <a:prstGeom prst="rect">
            <a:avLst/>
          </a:prstGeom>
          <a:solidFill>
            <a:schemeClr val="bg1">
              <a:lumMod val="85000"/>
            </a:schemeClr>
          </a:solidFill>
        </p:spPr>
        <p:txBody>
          <a:bodyPr/>
          <a:lstStyle/>
          <a:p>
            <a:r>
              <a:rPr lang="en-US"/>
              <a:t>Click icon to add picture</a:t>
            </a:r>
            <a:endParaRPr lang="en-GB"/>
          </a:p>
        </p:txBody>
      </p:sp>
      <p:sp>
        <p:nvSpPr>
          <p:cNvPr id="26" name="Text Placeholder 17">
            <a:extLst>
              <a:ext uri="{FF2B5EF4-FFF2-40B4-BE49-F238E27FC236}">
                <a16:creationId xmlns:a16="http://schemas.microsoft.com/office/drawing/2014/main" id="{8BD9D58A-9730-4689-82FF-3880AD4EB557}"/>
              </a:ext>
            </a:extLst>
          </p:cNvPr>
          <p:cNvSpPr>
            <a:spLocks noGrp="1"/>
          </p:cNvSpPr>
          <p:nvPr>
            <p:ph type="body" sz="quarter" idx="28"/>
          </p:nvPr>
        </p:nvSpPr>
        <p:spPr>
          <a:xfrm>
            <a:off x="72261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7" name="Text Placeholder 17">
            <a:extLst>
              <a:ext uri="{FF2B5EF4-FFF2-40B4-BE49-F238E27FC236}">
                <a16:creationId xmlns:a16="http://schemas.microsoft.com/office/drawing/2014/main" id="{84FA9470-3E08-4A55-BB56-6A291847C13A}"/>
              </a:ext>
            </a:extLst>
          </p:cNvPr>
          <p:cNvSpPr>
            <a:spLocks noGrp="1"/>
          </p:cNvSpPr>
          <p:nvPr>
            <p:ph type="body" sz="quarter" idx="29"/>
          </p:nvPr>
        </p:nvSpPr>
        <p:spPr>
          <a:xfrm>
            <a:off x="9181800" y="3576238"/>
            <a:ext cx="1650600" cy="252000"/>
          </a:xfrm>
          <a:prstGeom prst="rect">
            <a:avLst/>
          </a:prstGeom>
        </p:spPr>
        <p:txBody>
          <a:bodyPr anchor="ctr"/>
          <a:lstStyle>
            <a:lvl1pPr algn="ctr">
              <a:spcAft>
                <a:spcPts val="0"/>
              </a:spcAft>
              <a:defRPr/>
            </a:lvl1pPr>
          </a:lstStyle>
          <a:p>
            <a:pPr lvl="0"/>
            <a:r>
              <a:rPr lang="en-US"/>
              <a:t>Click to edit Master text styles</a:t>
            </a:r>
          </a:p>
        </p:txBody>
      </p:sp>
      <p:sp>
        <p:nvSpPr>
          <p:cNvPr id="28" name="Picture Placeholder 6">
            <a:extLst>
              <a:ext uri="{FF2B5EF4-FFF2-40B4-BE49-F238E27FC236}">
                <a16:creationId xmlns:a16="http://schemas.microsoft.com/office/drawing/2014/main" id="{74F72C97-0B91-4D13-BC93-502C0DDA63D5}"/>
              </a:ext>
            </a:extLst>
          </p:cNvPr>
          <p:cNvSpPr>
            <a:spLocks noGrp="1" noChangeAspect="1"/>
          </p:cNvSpPr>
          <p:nvPr>
            <p:ph type="pic" sz="quarter" idx="30"/>
          </p:nvPr>
        </p:nvSpPr>
        <p:spPr>
          <a:xfrm>
            <a:off x="13590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29" name="Picture Placeholder 6">
            <a:extLst>
              <a:ext uri="{FF2B5EF4-FFF2-40B4-BE49-F238E27FC236}">
                <a16:creationId xmlns:a16="http://schemas.microsoft.com/office/drawing/2014/main" id="{CA834CB8-8309-40CC-85CB-E847DDFEAA88}"/>
              </a:ext>
            </a:extLst>
          </p:cNvPr>
          <p:cNvSpPr>
            <a:spLocks noGrp="1" noChangeAspect="1"/>
          </p:cNvSpPr>
          <p:nvPr>
            <p:ph type="pic" sz="quarter" idx="31"/>
          </p:nvPr>
        </p:nvSpPr>
        <p:spPr>
          <a:xfrm>
            <a:off x="33147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0" name="Picture Placeholder 6">
            <a:extLst>
              <a:ext uri="{FF2B5EF4-FFF2-40B4-BE49-F238E27FC236}">
                <a16:creationId xmlns:a16="http://schemas.microsoft.com/office/drawing/2014/main" id="{A434F088-0196-49C1-B53B-EC3AFBDEA6FB}"/>
              </a:ext>
            </a:extLst>
          </p:cNvPr>
          <p:cNvSpPr>
            <a:spLocks noGrp="1" noChangeAspect="1"/>
          </p:cNvSpPr>
          <p:nvPr>
            <p:ph type="pic" sz="quarter" idx="32"/>
          </p:nvPr>
        </p:nvSpPr>
        <p:spPr>
          <a:xfrm>
            <a:off x="52704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1" name="Text Placeholder 17">
            <a:extLst>
              <a:ext uri="{FF2B5EF4-FFF2-40B4-BE49-F238E27FC236}">
                <a16:creationId xmlns:a16="http://schemas.microsoft.com/office/drawing/2014/main" id="{AFE4E092-B0F3-402B-9C53-055B7286B5B0}"/>
              </a:ext>
            </a:extLst>
          </p:cNvPr>
          <p:cNvSpPr>
            <a:spLocks noGrp="1"/>
          </p:cNvSpPr>
          <p:nvPr>
            <p:ph type="body" sz="quarter" idx="33"/>
          </p:nvPr>
        </p:nvSpPr>
        <p:spPr>
          <a:xfrm>
            <a:off x="1359000" y="5714188"/>
            <a:ext cx="1650600" cy="252000"/>
          </a:xfrm>
          <a:prstGeom prst="rect">
            <a:avLst/>
          </a:prstGeom>
        </p:spPr>
        <p:txBody>
          <a:bodyPr anchor="ctr"/>
          <a:lstStyle>
            <a:lvl1pPr algn="ctr">
              <a:defRPr/>
            </a:lvl1pPr>
          </a:lstStyle>
          <a:p>
            <a:pPr lvl="0"/>
            <a:r>
              <a:rPr lang="en-US"/>
              <a:t>Click to edit Master text styles</a:t>
            </a:r>
          </a:p>
        </p:txBody>
      </p:sp>
      <p:sp>
        <p:nvSpPr>
          <p:cNvPr id="32" name="Text Placeholder 17">
            <a:extLst>
              <a:ext uri="{FF2B5EF4-FFF2-40B4-BE49-F238E27FC236}">
                <a16:creationId xmlns:a16="http://schemas.microsoft.com/office/drawing/2014/main" id="{D0EEFE8D-FB7E-4184-B179-6802E6985B26}"/>
              </a:ext>
            </a:extLst>
          </p:cNvPr>
          <p:cNvSpPr>
            <a:spLocks noGrp="1"/>
          </p:cNvSpPr>
          <p:nvPr>
            <p:ph type="body" sz="quarter" idx="34"/>
          </p:nvPr>
        </p:nvSpPr>
        <p:spPr>
          <a:xfrm>
            <a:off x="3314700" y="5714188"/>
            <a:ext cx="1650600" cy="252000"/>
          </a:xfrm>
          <a:prstGeom prst="rect">
            <a:avLst/>
          </a:prstGeom>
        </p:spPr>
        <p:txBody>
          <a:bodyPr anchor="ctr"/>
          <a:lstStyle>
            <a:lvl1pPr algn="ctr">
              <a:defRPr/>
            </a:lvl1pPr>
          </a:lstStyle>
          <a:p>
            <a:pPr lvl="0"/>
            <a:r>
              <a:rPr lang="en-US"/>
              <a:t>Click to edit Master text styles</a:t>
            </a:r>
          </a:p>
        </p:txBody>
      </p:sp>
      <p:sp>
        <p:nvSpPr>
          <p:cNvPr id="33" name="Text Placeholder 17">
            <a:extLst>
              <a:ext uri="{FF2B5EF4-FFF2-40B4-BE49-F238E27FC236}">
                <a16:creationId xmlns:a16="http://schemas.microsoft.com/office/drawing/2014/main" id="{13E886F9-8EBE-418C-A9C2-637AD0660219}"/>
              </a:ext>
            </a:extLst>
          </p:cNvPr>
          <p:cNvSpPr>
            <a:spLocks noGrp="1"/>
          </p:cNvSpPr>
          <p:nvPr>
            <p:ph type="body" sz="quarter" idx="35"/>
          </p:nvPr>
        </p:nvSpPr>
        <p:spPr>
          <a:xfrm>
            <a:off x="5270400" y="5714188"/>
            <a:ext cx="1650600" cy="252000"/>
          </a:xfrm>
          <a:prstGeom prst="rect">
            <a:avLst/>
          </a:prstGeom>
        </p:spPr>
        <p:txBody>
          <a:bodyPr anchor="ctr"/>
          <a:lstStyle>
            <a:lvl1pPr algn="ctr">
              <a:defRPr/>
            </a:lvl1pPr>
          </a:lstStyle>
          <a:p>
            <a:pPr lvl="0"/>
            <a:r>
              <a:rPr lang="en-US"/>
              <a:t>Click to edit Master text styles</a:t>
            </a:r>
          </a:p>
        </p:txBody>
      </p:sp>
      <p:sp>
        <p:nvSpPr>
          <p:cNvPr id="34" name="Picture Placeholder 6">
            <a:extLst>
              <a:ext uri="{FF2B5EF4-FFF2-40B4-BE49-F238E27FC236}">
                <a16:creationId xmlns:a16="http://schemas.microsoft.com/office/drawing/2014/main" id="{4E3663E3-789A-40E1-BABF-D31E612525FE}"/>
              </a:ext>
            </a:extLst>
          </p:cNvPr>
          <p:cNvSpPr>
            <a:spLocks noGrp="1" noChangeAspect="1"/>
          </p:cNvSpPr>
          <p:nvPr>
            <p:ph type="pic" sz="quarter" idx="36"/>
          </p:nvPr>
        </p:nvSpPr>
        <p:spPr>
          <a:xfrm>
            <a:off x="72261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5" name="Picture Placeholder 6">
            <a:extLst>
              <a:ext uri="{FF2B5EF4-FFF2-40B4-BE49-F238E27FC236}">
                <a16:creationId xmlns:a16="http://schemas.microsoft.com/office/drawing/2014/main" id="{36EF7152-E16E-465A-A125-AF45D3A0E37A}"/>
              </a:ext>
            </a:extLst>
          </p:cNvPr>
          <p:cNvSpPr>
            <a:spLocks noGrp="1" noChangeAspect="1"/>
          </p:cNvSpPr>
          <p:nvPr>
            <p:ph type="pic" sz="quarter" idx="37"/>
          </p:nvPr>
        </p:nvSpPr>
        <p:spPr>
          <a:xfrm>
            <a:off x="9181800" y="4053600"/>
            <a:ext cx="1650600" cy="1650600"/>
          </a:xfrm>
          <a:prstGeom prst="rect">
            <a:avLst/>
          </a:prstGeom>
          <a:solidFill>
            <a:schemeClr val="bg1">
              <a:lumMod val="85000"/>
            </a:schemeClr>
          </a:solidFill>
        </p:spPr>
        <p:txBody>
          <a:bodyPr/>
          <a:lstStyle/>
          <a:p>
            <a:r>
              <a:rPr lang="en-US"/>
              <a:t>Click icon to add picture</a:t>
            </a:r>
            <a:endParaRPr lang="en-GB"/>
          </a:p>
        </p:txBody>
      </p:sp>
      <p:sp>
        <p:nvSpPr>
          <p:cNvPr id="36" name="Text Placeholder 17">
            <a:extLst>
              <a:ext uri="{FF2B5EF4-FFF2-40B4-BE49-F238E27FC236}">
                <a16:creationId xmlns:a16="http://schemas.microsoft.com/office/drawing/2014/main" id="{A01E7611-82DD-4924-934D-F8701B5CD98A}"/>
              </a:ext>
            </a:extLst>
          </p:cNvPr>
          <p:cNvSpPr>
            <a:spLocks noGrp="1"/>
          </p:cNvSpPr>
          <p:nvPr>
            <p:ph type="body" sz="quarter" idx="38"/>
          </p:nvPr>
        </p:nvSpPr>
        <p:spPr>
          <a:xfrm>
            <a:off x="7226100" y="5714188"/>
            <a:ext cx="1650600" cy="252000"/>
          </a:xfrm>
          <a:prstGeom prst="rect">
            <a:avLst/>
          </a:prstGeom>
        </p:spPr>
        <p:txBody>
          <a:bodyPr anchor="ctr"/>
          <a:lstStyle>
            <a:lvl1pPr algn="ctr">
              <a:defRPr/>
            </a:lvl1pPr>
          </a:lstStyle>
          <a:p>
            <a:pPr lvl="0"/>
            <a:r>
              <a:rPr lang="en-US"/>
              <a:t>Click to edit Master text styles</a:t>
            </a:r>
          </a:p>
        </p:txBody>
      </p:sp>
      <p:sp>
        <p:nvSpPr>
          <p:cNvPr id="37" name="Text Placeholder 17">
            <a:extLst>
              <a:ext uri="{FF2B5EF4-FFF2-40B4-BE49-F238E27FC236}">
                <a16:creationId xmlns:a16="http://schemas.microsoft.com/office/drawing/2014/main" id="{5E1CA1F3-9B65-483E-B0E7-D4BB7ACD4FCD}"/>
              </a:ext>
            </a:extLst>
          </p:cNvPr>
          <p:cNvSpPr>
            <a:spLocks noGrp="1"/>
          </p:cNvSpPr>
          <p:nvPr>
            <p:ph type="body" sz="quarter" idx="39"/>
          </p:nvPr>
        </p:nvSpPr>
        <p:spPr>
          <a:xfrm>
            <a:off x="9181800" y="5714188"/>
            <a:ext cx="1650600" cy="252000"/>
          </a:xfrm>
          <a:prstGeom prst="rect">
            <a:avLst/>
          </a:prstGeom>
        </p:spPr>
        <p:txBody>
          <a:bodyPr anchor="ctr"/>
          <a:lstStyle>
            <a:lvl1pPr algn="ctr">
              <a:defRPr/>
            </a:lvl1pPr>
          </a:lstStyle>
          <a:p>
            <a:pPr lvl="0"/>
            <a:r>
              <a:rPr lang="en-US"/>
              <a:t>Click to edit Master text styles</a:t>
            </a:r>
          </a:p>
        </p:txBody>
      </p:sp>
    </p:spTree>
    <p:extLst>
      <p:ext uri="{BB962C8B-B14F-4D97-AF65-F5344CB8AC3E}">
        <p14:creationId xmlns:p14="http://schemas.microsoft.com/office/powerpoint/2010/main" val="309063852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Imag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1"/>
            <a:ext cx="3600000" cy="137775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568BCA7A-028F-D641-A757-F504556EABEE}" type="datetime4">
              <a:rPr lang="en-US" smtClean="0"/>
              <a:t>September 24,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dirty="0"/>
            </a:lvl1pPr>
            <a:lvl2pPr>
              <a:defRPr lang="en-US" dirty="0"/>
            </a:lvl2pPr>
            <a:lvl3pPr>
              <a:defRPr lang="en-US" dirty="0"/>
            </a:lvl3pPr>
            <a:lvl4pPr>
              <a:defRPr lang="en-US" dirty="0"/>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7" name="Content Placeholder 2">
            <a:extLst>
              <a:ext uri="{FF2B5EF4-FFF2-40B4-BE49-F238E27FC236}">
                <a16:creationId xmlns:a16="http://schemas.microsoft.com/office/drawing/2014/main" id="{3ED3EE21-B105-4761-ACD1-C5BEE2805BD9}"/>
              </a:ext>
            </a:extLst>
          </p:cNvPr>
          <p:cNvSpPr>
            <a:spLocks noGrp="1"/>
          </p:cNvSpPr>
          <p:nvPr>
            <p:ph sz="half" idx="13"/>
          </p:nvPr>
        </p:nvSpPr>
        <p:spPr>
          <a:xfrm>
            <a:off x="8214175"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11814175" cy="4597200"/>
          </a:xfrm>
          <a:prstGeom prst="rect">
            <a:avLst/>
          </a:prstGeom>
          <a:solidFill>
            <a:schemeClr val="bg1">
              <a:lumMod val="85000"/>
            </a:schemeClr>
          </a:solidFill>
        </p:spPr>
        <p:txBody>
          <a:bodyPr/>
          <a:lstStyle/>
          <a:p>
            <a:r>
              <a:rPr lang="en-US"/>
              <a:t>Click icon to add picture</a:t>
            </a:r>
            <a:endParaRPr lang="en-GB"/>
          </a:p>
        </p:txBody>
      </p:sp>
    </p:spTree>
    <p:extLst>
      <p:ext uri="{BB962C8B-B14F-4D97-AF65-F5344CB8AC3E}">
        <p14:creationId xmlns:p14="http://schemas.microsoft.com/office/powerpoint/2010/main" val="2237490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and Imag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F1B9233A-DF33-49E3-8950-75A72BB6ABA6}"/>
              </a:ext>
            </a:extLst>
          </p:cNvPr>
          <p:cNvSpPr>
            <a:spLocks noGrp="1"/>
          </p:cNvSpPr>
          <p:nvPr>
            <p:ph type="pic" sz="quarter" idx="15"/>
          </p:nvPr>
        </p:nvSpPr>
        <p:spPr>
          <a:xfrm>
            <a:off x="8877600" y="4597200"/>
            <a:ext cx="3314400" cy="226080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7825" y="5004000"/>
            <a:ext cx="3600000" cy="1378495"/>
          </a:xfrm>
        </p:spPr>
        <p:txBody>
          <a:bodyPr anchor="t"/>
          <a:lstStyle/>
          <a:p>
            <a:r>
              <a:rPr lang="en-US"/>
              <a:t>Click to edit Master title style</a:t>
            </a:r>
            <a:endParaRPr lang="en-GB" dirty="0"/>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4296000" y="5004000"/>
            <a:ext cx="3600000" cy="1377750"/>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0" y="0"/>
            <a:ext cx="8877600" cy="4597200"/>
          </a:xfrm>
          <a:prstGeom prst="rect">
            <a:avLst/>
          </a:prstGeom>
          <a:solidFill>
            <a:schemeClr val="bg1">
              <a:lumMod val="85000"/>
            </a:schemeClr>
          </a:solidFill>
        </p:spPr>
        <p:txBody>
          <a:bodyPr/>
          <a:lstStyle/>
          <a:p>
            <a:r>
              <a:rPr lang="en-US"/>
              <a:t>Click icon to add picture</a:t>
            </a:r>
            <a:endParaRPr lang="en-GB"/>
          </a:p>
        </p:txBody>
      </p:sp>
      <p:sp>
        <p:nvSpPr>
          <p:cNvPr id="9" name="Footer Placeholder 8">
            <a:extLst>
              <a:ext uri="{FF2B5EF4-FFF2-40B4-BE49-F238E27FC236}">
                <a16:creationId xmlns:a16="http://schemas.microsoft.com/office/drawing/2014/main" id="{5B6F0F0A-4199-EB47-811A-FAE05B072BC8}"/>
              </a:ext>
            </a:extLst>
          </p:cNvPr>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59362905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Lef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385419"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8217754" y="1387799"/>
            <a:ext cx="3596421" cy="1220400"/>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6957F6FC-9C5A-8E4F-8F5D-F636A8B9F004}" type="datetime4">
              <a:rPr lang="en-US" smtClean="0"/>
              <a:t>September 24,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8217754"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A98B7EDB-B996-BA42-902D-C20ED98AB6F2}"/>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16612930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arge Image with Content Right">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E7F3E19A-DFC7-42BB-8D77-9CC547ED650D}"/>
              </a:ext>
            </a:extLst>
          </p:cNvPr>
          <p:cNvSpPr>
            <a:spLocks noGrp="1"/>
          </p:cNvSpPr>
          <p:nvPr>
            <p:ph type="pic" sz="quarter" idx="14"/>
          </p:nvPr>
        </p:nvSpPr>
        <p:spPr>
          <a:xfrm>
            <a:off x="4617754" y="0"/>
            <a:ext cx="7200000" cy="6381750"/>
          </a:xfrm>
          <a:prstGeom prst="rect">
            <a:avLst/>
          </a:prstGeom>
          <a:solidFill>
            <a:schemeClr val="bg1">
              <a:lumMod val="85000"/>
            </a:schemeClr>
          </a:solidFill>
        </p:spPr>
        <p:txBody>
          <a:bodyPr/>
          <a:lstStyle/>
          <a:p>
            <a:r>
              <a:rPr lang="en-US"/>
              <a:t>Click icon to add picture</a:t>
            </a:r>
            <a:endParaRPr lang="en-GB"/>
          </a:p>
        </p:txBody>
      </p:sp>
      <p:sp>
        <p:nvSpPr>
          <p:cNvPr id="2" name="Title 1">
            <a:extLst>
              <a:ext uri="{FF2B5EF4-FFF2-40B4-BE49-F238E27FC236}">
                <a16:creationId xmlns:a16="http://schemas.microsoft.com/office/drawing/2014/main" id="{539C3E1F-B93C-43BE-95FC-0E6BE53DB1B9}"/>
              </a:ext>
            </a:extLst>
          </p:cNvPr>
          <p:cNvSpPr>
            <a:spLocks noGrp="1"/>
          </p:cNvSpPr>
          <p:nvPr>
            <p:ph type="title"/>
          </p:nvPr>
        </p:nvSpPr>
        <p:spPr>
          <a:xfrm>
            <a:off x="378000" y="1387800"/>
            <a:ext cx="3596421" cy="1221757"/>
          </a:xfrm>
        </p:spPr>
        <p:txBody>
          <a:bodyPr anchor="t"/>
          <a:lstStyle/>
          <a:p>
            <a:r>
              <a:rPr lang="en-US"/>
              <a:t>Click to edit Master title style</a:t>
            </a:r>
            <a:endParaRPr lang="en-GB" dirty="0"/>
          </a:p>
        </p:txBody>
      </p:sp>
      <p:sp>
        <p:nvSpPr>
          <p:cNvPr id="3" name="Date Placeholder 2">
            <a:extLst>
              <a:ext uri="{FF2B5EF4-FFF2-40B4-BE49-F238E27FC236}">
                <a16:creationId xmlns:a16="http://schemas.microsoft.com/office/drawing/2014/main" id="{6E010F0D-A983-4160-86AD-209E0D38C992}"/>
              </a:ext>
            </a:extLst>
          </p:cNvPr>
          <p:cNvSpPr>
            <a:spLocks noGrp="1"/>
          </p:cNvSpPr>
          <p:nvPr>
            <p:ph type="dt" sz="half" idx="10"/>
          </p:nvPr>
        </p:nvSpPr>
        <p:spPr/>
        <p:txBody>
          <a:bodyPr/>
          <a:lstStyle/>
          <a:p>
            <a:fld id="{77A519C7-09B2-174C-A471-73F88209E3BE}" type="datetime4">
              <a:rPr lang="en-US" smtClean="0"/>
              <a:t>September 24, 2023</a:t>
            </a:fld>
            <a:endParaRPr lang="en-GB"/>
          </a:p>
        </p:txBody>
      </p:sp>
      <p:sp>
        <p:nvSpPr>
          <p:cNvPr id="4" name="Footer Placeholder 3">
            <a:extLst>
              <a:ext uri="{FF2B5EF4-FFF2-40B4-BE49-F238E27FC236}">
                <a16:creationId xmlns:a16="http://schemas.microsoft.com/office/drawing/2014/main" id="{36F525F3-B2B6-4542-956B-C67A77F16FB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CE82B12-C03F-4C3B-A37D-2ABAB8B6D5D2}"/>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6" name="Content Placeholder 2">
            <a:extLst>
              <a:ext uri="{FF2B5EF4-FFF2-40B4-BE49-F238E27FC236}">
                <a16:creationId xmlns:a16="http://schemas.microsoft.com/office/drawing/2014/main" id="{3B16427B-9B77-48C4-9A8F-FDA993BCAD3F}"/>
              </a:ext>
            </a:extLst>
          </p:cNvPr>
          <p:cNvSpPr>
            <a:spLocks noGrp="1"/>
          </p:cNvSpPr>
          <p:nvPr>
            <p:ph sz="half" idx="1"/>
          </p:nvPr>
        </p:nvSpPr>
        <p:spPr>
          <a:xfrm>
            <a:off x="378000" y="2778919"/>
            <a:ext cx="3600000" cy="3602831"/>
          </a:xfrm>
          <a:prstGeom prst="rect">
            <a:avLst/>
          </a:prstGeom>
        </p:spPr>
        <p:txBody>
          <a:bodyPr vert="horz" lIns="0" tIns="0" rIns="0" bIns="0" rtlCol="0" anchor="t">
            <a:noAutofit/>
          </a:bodyPr>
          <a:lstStyle>
            <a:lvl1pPr>
              <a:defRPr lang="en-US"/>
            </a:lvl1pPr>
            <a:lvl2pPr>
              <a:defRPr lang="en-US"/>
            </a:lvl2pPr>
            <a:lvl3pPr>
              <a:defRPr lang="en-US"/>
            </a:lvl3pPr>
            <a:lvl4pPr>
              <a:defRPr lang="en-US"/>
            </a:lvl4pPr>
            <a:lvl5pPr>
              <a:defRPr lang="en-US" dirty="0"/>
            </a:lvl5p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8D5E94F0-46CB-FA4D-A7A8-113331E15279}"/>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5545100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Slide Image and Caption">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4F30EF0-1BA1-49CF-B35E-118E146B5E20}"/>
              </a:ext>
            </a:extLst>
          </p:cNvPr>
          <p:cNvSpPr>
            <a:spLocks noGrp="1"/>
          </p:cNvSpPr>
          <p:nvPr>
            <p:ph type="dt" sz="half" idx="10"/>
          </p:nvPr>
        </p:nvSpPr>
        <p:spPr/>
        <p:txBody>
          <a:bodyPr/>
          <a:lstStyle>
            <a:lvl1pPr>
              <a:defRPr>
                <a:solidFill>
                  <a:schemeClr val="bg1"/>
                </a:solidFill>
              </a:defRPr>
            </a:lvl1pPr>
          </a:lstStyle>
          <a:p>
            <a:fld id="{B4EA1EC1-92B2-184C-A2CA-ECD7FC77C3B1}" type="datetime4">
              <a:rPr lang="en-US" smtClean="0"/>
              <a:t>September 24, 2023</a:t>
            </a:fld>
            <a:endParaRPr lang="en-GB"/>
          </a:p>
        </p:txBody>
      </p:sp>
      <p:sp>
        <p:nvSpPr>
          <p:cNvPr id="4" name="Footer Placeholder 3">
            <a:extLst>
              <a:ext uri="{FF2B5EF4-FFF2-40B4-BE49-F238E27FC236}">
                <a16:creationId xmlns:a16="http://schemas.microsoft.com/office/drawing/2014/main" id="{5EE08C3D-9B0C-4E74-9AB5-9E79B4458543}"/>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B99ACBD4-335A-44B8-985A-019168B92E11}"/>
              </a:ext>
            </a:extLst>
          </p:cNvPr>
          <p:cNvSpPr>
            <a:spLocks noGrp="1"/>
          </p:cNvSpPr>
          <p:nvPr>
            <p:ph type="sldNum" sz="quarter" idx="12"/>
          </p:nvPr>
        </p:nvSpPr>
        <p:spPr/>
        <p:txBody>
          <a:bodyPr/>
          <a:lstStyle>
            <a:lvl1pPr>
              <a:defRPr>
                <a:solidFill>
                  <a:schemeClr val="bg1"/>
                </a:solidFill>
              </a:defRPr>
            </a:lvl1pPr>
          </a:lstStyle>
          <a:p>
            <a:fld id="{29CC380D-5F44-41E8-971E-CDD19ED6F8E3}" type="slidenum">
              <a:rPr lang="en-GB" smtClean="0"/>
              <a:pPr/>
              <a:t>‹#›</a:t>
            </a:fld>
            <a:endParaRPr lang="en-GB"/>
          </a:p>
        </p:txBody>
      </p:sp>
      <p:sp>
        <p:nvSpPr>
          <p:cNvPr id="6" name="Picture Placeholder 9">
            <a:extLst>
              <a:ext uri="{FF2B5EF4-FFF2-40B4-BE49-F238E27FC236}">
                <a16:creationId xmlns:a16="http://schemas.microsoft.com/office/drawing/2014/main" id="{A29767D4-6CBA-4EAD-AEB1-73F0D103F504}"/>
              </a:ext>
            </a:extLst>
          </p:cNvPr>
          <p:cNvSpPr>
            <a:spLocks noGrp="1"/>
          </p:cNvSpPr>
          <p:nvPr>
            <p:ph type="pic" sz="quarter" idx="14"/>
          </p:nvPr>
        </p:nvSpPr>
        <p:spPr>
          <a:xfrm>
            <a:off x="-472" y="-3332"/>
            <a:ext cx="12192632" cy="6861331"/>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0 h 6858000"/>
              <a:gd name="connsiteX0" fmla="*/ 0 w 9144000"/>
              <a:gd name="connsiteY0" fmla="*/ 4334 h 6862334"/>
              <a:gd name="connsiteX1" fmla="*/ 3826612 w 9144000"/>
              <a:gd name="connsiteY1" fmla="*/ 0 h 6862334"/>
              <a:gd name="connsiteX2" fmla="*/ 9144000 w 9144000"/>
              <a:gd name="connsiteY2" fmla="*/ 4334 h 6862334"/>
              <a:gd name="connsiteX3" fmla="*/ 9144000 w 9144000"/>
              <a:gd name="connsiteY3" fmla="*/ 6862334 h 6862334"/>
              <a:gd name="connsiteX4" fmla="*/ 0 w 9144000"/>
              <a:gd name="connsiteY4" fmla="*/ 6862334 h 6862334"/>
              <a:gd name="connsiteX5" fmla="*/ 0 w 9144000"/>
              <a:gd name="connsiteY5" fmla="*/ 4334 h 6862334"/>
              <a:gd name="connsiteX0" fmla="*/ 4334 w 9148334"/>
              <a:gd name="connsiteY0" fmla="*/ 4334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4334 w 9148334"/>
              <a:gd name="connsiteY6" fmla="*/ 4334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8607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8607 h 6862334"/>
              <a:gd name="connsiteX0" fmla="*/ 3826612 w 9148334"/>
              <a:gd name="connsiteY0" fmla="*/ 3744700 h 6862334"/>
              <a:gd name="connsiteX1" fmla="*/ 3830946 w 9148334"/>
              <a:gd name="connsiteY1" fmla="*/ 0 h 6862334"/>
              <a:gd name="connsiteX2" fmla="*/ 9148334 w 9148334"/>
              <a:gd name="connsiteY2" fmla="*/ 4334 h 6862334"/>
              <a:gd name="connsiteX3" fmla="*/ 9148334 w 9148334"/>
              <a:gd name="connsiteY3" fmla="*/ 6862334 h 6862334"/>
              <a:gd name="connsiteX4" fmla="*/ 4334 w 9148334"/>
              <a:gd name="connsiteY4" fmla="*/ 6862334 h 6862334"/>
              <a:gd name="connsiteX5" fmla="*/ 0 w 9148334"/>
              <a:gd name="connsiteY5" fmla="*/ 3744273 h 6862334"/>
              <a:gd name="connsiteX6" fmla="*/ 3826612 w 9148334"/>
              <a:gd name="connsiteY6" fmla="*/ 3744700 h 6862334"/>
              <a:gd name="connsiteX0" fmla="*/ 3822752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22752 w 9144474"/>
              <a:gd name="connsiteY6" fmla="*/ 3744700 h 6862334"/>
              <a:gd name="connsiteX0" fmla="*/ 3818844 w 9144474"/>
              <a:gd name="connsiteY0" fmla="*/ 3744700 h 6862334"/>
              <a:gd name="connsiteX1" fmla="*/ 3827086 w 9144474"/>
              <a:gd name="connsiteY1" fmla="*/ 0 h 6862334"/>
              <a:gd name="connsiteX2" fmla="*/ 9144474 w 9144474"/>
              <a:gd name="connsiteY2" fmla="*/ 4334 h 6862334"/>
              <a:gd name="connsiteX3" fmla="*/ 9144474 w 9144474"/>
              <a:gd name="connsiteY3" fmla="*/ 6862334 h 6862334"/>
              <a:gd name="connsiteX4" fmla="*/ 474 w 9144474"/>
              <a:gd name="connsiteY4" fmla="*/ 6862334 h 6862334"/>
              <a:gd name="connsiteX5" fmla="*/ 48 w 9144474"/>
              <a:gd name="connsiteY5" fmla="*/ 3744273 h 6862334"/>
              <a:gd name="connsiteX6" fmla="*/ 3818844 w 9144474"/>
              <a:gd name="connsiteY6" fmla="*/ 3744700 h 6862334"/>
              <a:gd name="connsiteX0" fmla="*/ 3818844 w 9144474"/>
              <a:gd name="connsiteY0" fmla="*/ 3740792 h 6858426"/>
              <a:gd name="connsiteX1" fmla="*/ 3819270 w 9144474"/>
              <a:gd name="connsiteY1" fmla="*/ 0 h 6858426"/>
              <a:gd name="connsiteX2" fmla="*/ 9144474 w 9144474"/>
              <a:gd name="connsiteY2" fmla="*/ 426 h 6858426"/>
              <a:gd name="connsiteX3" fmla="*/ 9144474 w 9144474"/>
              <a:gd name="connsiteY3" fmla="*/ 6858426 h 6858426"/>
              <a:gd name="connsiteX4" fmla="*/ 474 w 9144474"/>
              <a:gd name="connsiteY4" fmla="*/ 6858426 h 6858426"/>
              <a:gd name="connsiteX5" fmla="*/ 48 w 9144474"/>
              <a:gd name="connsiteY5" fmla="*/ 3740365 h 6858426"/>
              <a:gd name="connsiteX6" fmla="*/ 3818844 w 9144474"/>
              <a:gd name="connsiteY6" fmla="*/ 3740792 h 6858426"/>
              <a:gd name="connsiteX0" fmla="*/ 3818844 w 12163899"/>
              <a:gd name="connsiteY0" fmla="*/ 3740792 h 6858426"/>
              <a:gd name="connsiteX1" fmla="*/ 3819270 w 12163899"/>
              <a:gd name="connsiteY1" fmla="*/ 0 h 6858426"/>
              <a:gd name="connsiteX2" fmla="*/ 12163899 w 12163899"/>
              <a:gd name="connsiteY2" fmla="*/ 426 h 6858426"/>
              <a:gd name="connsiteX3" fmla="*/ 9144474 w 12163899"/>
              <a:gd name="connsiteY3" fmla="*/ 6858426 h 6858426"/>
              <a:gd name="connsiteX4" fmla="*/ 474 w 12163899"/>
              <a:gd name="connsiteY4" fmla="*/ 6858426 h 6858426"/>
              <a:gd name="connsiteX5" fmla="*/ 48 w 12163899"/>
              <a:gd name="connsiteY5" fmla="*/ 3740365 h 6858426"/>
              <a:gd name="connsiteX6" fmla="*/ 3818844 w 12163899"/>
              <a:gd name="connsiteY6" fmla="*/ 3740792 h 6858426"/>
              <a:gd name="connsiteX0" fmla="*/ 3818844 w 12192474"/>
              <a:gd name="connsiteY0" fmla="*/ 3740792 h 6858426"/>
              <a:gd name="connsiteX1" fmla="*/ 3819270 w 12192474"/>
              <a:gd name="connsiteY1" fmla="*/ 0 h 6858426"/>
              <a:gd name="connsiteX2" fmla="*/ 12163899 w 12192474"/>
              <a:gd name="connsiteY2" fmla="*/ 426 h 6858426"/>
              <a:gd name="connsiteX3" fmla="*/ 12192474 w 12192474"/>
              <a:gd name="connsiteY3" fmla="*/ 6858426 h 6858426"/>
              <a:gd name="connsiteX4" fmla="*/ 474 w 12192474"/>
              <a:gd name="connsiteY4" fmla="*/ 6858426 h 6858426"/>
              <a:gd name="connsiteX5" fmla="*/ 48 w 12192474"/>
              <a:gd name="connsiteY5" fmla="*/ 3740365 h 6858426"/>
              <a:gd name="connsiteX6" fmla="*/ 3818844 w 12192474"/>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3696"/>
              <a:gd name="connsiteY0" fmla="*/ 3740792 h 6858426"/>
              <a:gd name="connsiteX1" fmla="*/ 3819270 w 12193696"/>
              <a:gd name="connsiteY1" fmla="*/ 0 h 6858426"/>
              <a:gd name="connsiteX2" fmla="*/ 12193696 w 12193696"/>
              <a:gd name="connsiteY2" fmla="*/ 426 h 6858426"/>
              <a:gd name="connsiteX3" fmla="*/ 12192474 w 12193696"/>
              <a:gd name="connsiteY3" fmla="*/ 6858426 h 6858426"/>
              <a:gd name="connsiteX4" fmla="*/ 474 w 12193696"/>
              <a:gd name="connsiteY4" fmla="*/ 6858426 h 6858426"/>
              <a:gd name="connsiteX5" fmla="*/ 48 w 12193696"/>
              <a:gd name="connsiteY5" fmla="*/ 3740365 h 6858426"/>
              <a:gd name="connsiteX6" fmla="*/ 3818844 w 12193696"/>
              <a:gd name="connsiteY6" fmla="*/ 3740792 h 6858426"/>
              <a:gd name="connsiteX0" fmla="*/ 3818844 w 12192508"/>
              <a:gd name="connsiteY0" fmla="*/ 3740792 h 6858426"/>
              <a:gd name="connsiteX1" fmla="*/ 3819270 w 12192508"/>
              <a:gd name="connsiteY1" fmla="*/ 0 h 6858426"/>
              <a:gd name="connsiteX2" fmla="*/ 12189971 w 12192508"/>
              <a:gd name="connsiteY2" fmla="*/ 426 h 6858426"/>
              <a:gd name="connsiteX3" fmla="*/ 12192474 w 12192508"/>
              <a:gd name="connsiteY3" fmla="*/ 6858426 h 6858426"/>
              <a:gd name="connsiteX4" fmla="*/ 474 w 12192508"/>
              <a:gd name="connsiteY4" fmla="*/ 6858426 h 6858426"/>
              <a:gd name="connsiteX5" fmla="*/ 48 w 12192508"/>
              <a:gd name="connsiteY5" fmla="*/ 3740365 h 6858426"/>
              <a:gd name="connsiteX6" fmla="*/ 3818844 w 12192508"/>
              <a:gd name="connsiteY6" fmla="*/ 3740792 h 6858426"/>
              <a:gd name="connsiteX0" fmla="*/ 3818844 w 12192633"/>
              <a:gd name="connsiteY0" fmla="*/ 3740792 h 6858426"/>
              <a:gd name="connsiteX1" fmla="*/ 3819270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3818844 w 12192633"/>
              <a:gd name="connsiteY0" fmla="*/ 3740366 h 6858000"/>
              <a:gd name="connsiteX1" fmla="*/ 4590795 w 12192633"/>
              <a:gd name="connsiteY1" fmla="*/ 9099 h 6858000"/>
              <a:gd name="connsiteX2" fmla="*/ 12192633 w 12192633"/>
              <a:gd name="connsiteY2" fmla="*/ 0 h 6858000"/>
              <a:gd name="connsiteX3" fmla="*/ 12192474 w 12192633"/>
              <a:gd name="connsiteY3" fmla="*/ 6858000 h 6858000"/>
              <a:gd name="connsiteX4" fmla="*/ 474 w 12192633"/>
              <a:gd name="connsiteY4" fmla="*/ 6858000 h 6858000"/>
              <a:gd name="connsiteX5" fmla="*/ 48 w 12192633"/>
              <a:gd name="connsiteY5" fmla="*/ 3739939 h 6858000"/>
              <a:gd name="connsiteX6" fmla="*/ 3818844 w 12192633"/>
              <a:gd name="connsiteY6" fmla="*/ 3740366 h 6858000"/>
              <a:gd name="connsiteX0" fmla="*/ 3818844 w 12192633"/>
              <a:gd name="connsiteY0" fmla="*/ 374079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3818844 w 12192633"/>
              <a:gd name="connsiteY6" fmla="*/ 3740792 h 6858426"/>
              <a:gd name="connsiteX0" fmla="*/ 4590369 w 12192633"/>
              <a:gd name="connsiteY0" fmla="*/ 4026542 h 6858426"/>
              <a:gd name="connsiteX1" fmla="*/ 4590795 w 12192633"/>
              <a:gd name="connsiteY1" fmla="*/ 0 h 6858426"/>
              <a:gd name="connsiteX2" fmla="*/ 12192633 w 12192633"/>
              <a:gd name="connsiteY2" fmla="*/ 426 h 6858426"/>
              <a:gd name="connsiteX3" fmla="*/ 12192474 w 12192633"/>
              <a:gd name="connsiteY3" fmla="*/ 6858426 h 6858426"/>
              <a:gd name="connsiteX4" fmla="*/ 474 w 12192633"/>
              <a:gd name="connsiteY4" fmla="*/ 6858426 h 6858426"/>
              <a:gd name="connsiteX5" fmla="*/ 48 w 12192633"/>
              <a:gd name="connsiteY5" fmla="*/ 3740365 h 6858426"/>
              <a:gd name="connsiteX6" fmla="*/ 4590369 w 12192633"/>
              <a:gd name="connsiteY6" fmla="*/ 4026542 h 6858426"/>
              <a:gd name="connsiteX0" fmla="*/ 4590017 w 12192281"/>
              <a:gd name="connsiteY0" fmla="*/ 4026542 h 6858426"/>
              <a:gd name="connsiteX1" fmla="*/ 4590443 w 12192281"/>
              <a:gd name="connsiteY1" fmla="*/ 0 h 6858426"/>
              <a:gd name="connsiteX2" fmla="*/ 12192281 w 12192281"/>
              <a:gd name="connsiteY2" fmla="*/ 426 h 6858426"/>
              <a:gd name="connsiteX3" fmla="*/ 12192122 w 12192281"/>
              <a:gd name="connsiteY3" fmla="*/ 6858426 h 6858426"/>
              <a:gd name="connsiteX4" fmla="*/ 122 w 12192281"/>
              <a:gd name="connsiteY4" fmla="*/ 6858426 h 6858426"/>
              <a:gd name="connsiteX5" fmla="*/ 9221 w 12192281"/>
              <a:gd name="connsiteY5" fmla="*/ 4054690 h 6858426"/>
              <a:gd name="connsiteX6" fmla="*/ 4590017 w 12192281"/>
              <a:gd name="connsiteY6" fmla="*/ 4026542 h 6858426"/>
              <a:gd name="connsiteX0" fmla="*/ 4590368 w 12192632"/>
              <a:gd name="connsiteY0" fmla="*/ 402654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26542 h 6858426"/>
              <a:gd name="connsiteX0" fmla="*/ 4590368 w 12192632"/>
              <a:gd name="connsiteY0" fmla="*/ 403606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36067 h 6858426"/>
              <a:gd name="connsiteX0" fmla="*/ 4590368 w 12192632"/>
              <a:gd name="connsiteY0" fmla="*/ 4045592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5592 h 6858426"/>
              <a:gd name="connsiteX0" fmla="*/ 4590368 w 12192632"/>
              <a:gd name="connsiteY0" fmla="*/ 4055117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55117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54690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4696 h 6858426"/>
              <a:gd name="connsiteX6" fmla="*/ 4590368 w 12192632"/>
              <a:gd name="connsiteY6" fmla="*/ 4041793 h 6858426"/>
              <a:gd name="connsiteX0" fmla="*/ 4590368 w 12192632"/>
              <a:gd name="connsiteY0" fmla="*/ 4041793 h 6858426"/>
              <a:gd name="connsiteX1" fmla="*/ 4590794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90368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90368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1793 h 6858426"/>
              <a:gd name="connsiteX1" fmla="*/ 4587462 w 12192632"/>
              <a:gd name="connsiteY1" fmla="*/ 0 h 6858426"/>
              <a:gd name="connsiteX2" fmla="*/ 12192632 w 12192632"/>
              <a:gd name="connsiteY2" fmla="*/ 426 h 6858426"/>
              <a:gd name="connsiteX3" fmla="*/ 12192473 w 12192632"/>
              <a:gd name="connsiteY3" fmla="*/ 6858426 h 6858426"/>
              <a:gd name="connsiteX4" fmla="*/ 473 w 12192632"/>
              <a:gd name="connsiteY4" fmla="*/ 6858426 h 6858426"/>
              <a:gd name="connsiteX5" fmla="*/ 47 w 12192632"/>
              <a:gd name="connsiteY5" fmla="*/ 4041365 h 6858426"/>
              <a:gd name="connsiteX6" fmla="*/ 4587036 w 12192632"/>
              <a:gd name="connsiteY6" fmla="*/ 4041793 h 6858426"/>
              <a:gd name="connsiteX0" fmla="*/ 4587036 w 12192632"/>
              <a:gd name="connsiteY0" fmla="*/ 4044698 h 6861331"/>
              <a:gd name="connsiteX1" fmla="*/ 4587462 w 12192632"/>
              <a:gd name="connsiteY1" fmla="*/ 2905 h 6861331"/>
              <a:gd name="connsiteX2" fmla="*/ 12192632 w 12192632"/>
              <a:gd name="connsiteY2" fmla="*/ 0 h 6861331"/>
              <a:gd name="connsiteX3" fmla="*/ 12192473 w 12192632"/>
              <a:gd name="connsiteY3" fmla="*/ 6861331 h 6861331"/>
              <a:gd name="connsiteX4" fmla="*/ 473 w 12192632"/>
              <a:gd name="connsiteY4" fmla="*/ 6861331 h 6861331"/>
              <a:gd name="connsiteX5" fmla="*/ 47 w 12192632"/>
              <a:gd name="connsiteY5" fmla="*/ 4044270 h 6861331"/>
              <a:gd name="connsiteX6" fmla="*/ 4587036 w 12192632"/>
              <a:gd name="connsiteY6" fmla="*/ 4044698 h 686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32" h="6861331">
                <a:moveTo>
                  <a:pt x="4587036" y="4044698"/>
                </a:moveTo>
                <a:cubicBezTo>
                  <a:pt x="4588481" y="2795162"/>
                  <a:pt x="4586017" y="1252441"/>
                  <a:pt x="4587462" y="2905"/>
                </a:cubicBezTo>
                <a:lnTo>
                  <a:pt x="12192632" y="0"/>
                </a:lnTo>
                <a:cubicBezTo>
                  <a:pt x="12192225" y="2286000"/>
                  <a:pt x="12192880" y="4575331"/>
                  <a:pt x="12192473" y="6861331"/>
                </a:cubicBezTo>
                <a:lnTo>
                  <a:pt x="473" y="6861331"/>
                </a:lnTo>
                <a:cubicBezTo>
                  <a:pt x="-972" y="5821977"/>
                  <a:pt x="1492" y="5083624"/>
                  <a:pt x="47" y="4044270"/>
                </a:cubicBezTo>
                <a:lnTo>
                  <a:pt x="4587036" y="4044698"/>
                </a:lnTo>
                <a:close/>
              </a:path>
            </a:pathLst>
          </a:custGeom>
          <a:solidFill>
            <a:schemeClr val="bg1">
              <a:lumMod val="85000"/>
            </a:schemeClr>
          </a:solidFill>
        </p:spPr>
        <p:txBody>
          <a:bodyPr/>
          <a:lstStyle>
            <a:lvl1pPr algn="r">
              <a:defRPr/>
            </a:lvl1pPr>
          </a:lstStyle>
          <a:p>
            <a:r>
              <a:rPr lang="en-US"/>
              <a:t>Click icon to add picture</a:t>
            </a:r>
            <a:endParaRPr lang="en-GB"/>
          </a:p>
        </p:txBody>
      </p:sp>
      <p:sp>
        <p:nvSpPr>
          <p:cNvPr id="8" name="Content Placeholder 2">
            <a:extLst>
              <a:ext uri="{FF2B5EF4-FFF2-40B4-BE49-F238E27FC236}">
                <a16:creationId xmlns:a16="http://schemas.microsoft.com/office/drawing/2014/main" id="{F17F807A-F369-4FBC-B5EB-675732DA4D1E}"/>
              </a:ext>
            </a:extLst>
          </p:cNvPr>
          <p:cNvSpPr>
            <a:spLocks noGrp="1"/>
          </p:cNvSpPr>
          <p:nvPr>
            <p:ph idx="1"/>
          </p:nvPr>
        </p:nvSpPr>
        <p:spPr>
          <a:xfrm>
            <a:off x="431798" y="377826"/>
            <a:ext cx="3860802" cy="305117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500319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tx1"/>
                </a:solidFill>
              </a:defRPr>
            </a:lvl1pPr>
            <a:lvl2pPr marL="0" indent="0">
              <a:spcAft>
                <a:spcPts val="0"/>
              </a:spcAft>
              <a:buNone/>
              <a:defRPr sz="1200" b="1">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11" name="Picture 10" descr="Logo&#10;&#10;Description automatically generated">
            <a:extLst>
              <a:ext uri="{FF2B5EF4-FFF2-40B4-BE49-F238E27FC236}">
                <a16:creationId xmlns:a16="http://schemas.microsoft.com/office/drawing/2014/main" id="{D7000A8D-916B-6A46-A8CB-3E48942EBD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2F877A01-E9E8-0346-87B6-A50C0F85A296}"/>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tx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23842970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B55F0808-BBA3-3A41-B407-560B02C099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D83BC71C-5BC4-4448-9864-CA26E655EAFE}"/>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371778458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EE3628C8-BDEC-4C4C-BE6D-FF9ED0F5BA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E7E39A4D-45C0-614F-BA3D-48CE68D5EA38}"/>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bg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157113025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4932000"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6" name="Picture Placeholder 6">
            <a:extLst>
              <a:ext uri="{FF2B5EF4-FFF2-40B4-BE49-F238E27FC236}">
                <a16:creationId xmlns:a16="http://schemas.microsoft.com/office/drawing/2014/main" id="{CE57F7F5-FC77-425E-A2A6-DDD1D50110BD}"/>
              </a:ext>
            </a:extLst>
          </p:cNvPr>
          <p:cNvSpPr>
            <a:spLocks noGrp="1"/>
          </p:cNvSpPr>
          <p:nvPr>
            <p:ph type="pic" sz="quarter" idx="14"/>
          </p:nvPr>
        </p:nvSpPr>
        <p:spPr>
          <a:xfrm>
            <a:off x="6657175" y="377825"/>
            <a:ext cx="5157000" cy="3981600"/>
          </a:xfrm>
          <a:prstGeom prst="rect">
            <a:avLst/>
          </a:prstGeom>
          <a:solidFill>
            <a:schemeClr val="bg1">
              <a:lumMod val="85000"/>
            </a:schemeClr>
          </a:solidFill>
        </p:spPr>
        <p:txBody>
          <a:bodyPr/>
          <a:lstStyle/>
          <a:p>
            <a:r>
              <a:rPr lang="en-US"/>
              <a:t>Click icon to add picture</a:t>
            </a:r>
            <a:endParaRPr lang="en-GB"/>
          </a:p>
        </p:txBody>
      </p:sp>
      <p:sp>
        <p:nvSpPr>
          <p:cNvPr id="8" name="Rectangle 7">
            <a:extLst>
              <a:ext uri="{FF2B5EF4-FFF2-40B4-BE49-F238E27FC236}">
                <a16:creationId xmlns:a16="http://schemas.microsoft.com/office/drawing/2014/main" id="{EF6A93B3-E055-4858-9A45-84EE75DE5C27}"/>
              </a:ext>
            </a:extLst>
          </p:cNvPr>
          <p:cNvSpPr/>
          <p:nvPr userDrawn="1"/>
        </p:nvSpPr>
        <p:spPr>
          <a:xfrm>
            <a:off x="11814175" y="-175"/>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pic>
        <p:nvPicPr>
          <p:cNvPr id="10" name="Picture 9" descr="Logo&#10;&#10;Description automatically generated">
            <a:extLst>
              <a:ext uri="{FF2B5EF4-FFF2-40B4-BE49-F238E27FC236}">
                <a16:creationId xmlns:a16="http://schemas.microsoft.com/office/drawing/2014/main" id="{BC4595B4-A431-E645-B62F-FD05F8FF8E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12" name="TextBox 11">
            <a:extLst>
              <a:ext uri="{FF2B5EF4-FFF2-40B4-BE49-F238E27FC236}">
                <a16:creationId xmlns:a16="http://schemas.microsoft.com/office/drawing/2014/main" id="{1489F9C1-FA19-D240-83AC-6F6609C15122}"/>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150329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Two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4292600" y="4950000"/>
            <a:ext cx="2629000" cy="143175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868099"/>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6921600" y="894600"/>
            <a:ext cx="5270400" cy="40572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3914600" y="457380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3" name="Footer Placeholder 12">
            <a:extLst>
              <a:ext uri="{FF2B5EF4-FFF2-40B4-BE49-F238E27FC236}">
                <a16:creationId xmlns:a16="http://schemas.microsoft.com/office/drawing/2014/main" id="{5FD26272-1046-C440-83DF-DE260B8CF897}"/>
              </a:ext>
            </a:extLst>
          </p:cNvPr>
          <p:cNvSpPr>
            <a:spLocks noGrp="1"/>
          </p:cNvSpPr>
          <p:nvPr>
            <p:ph type="ftr" sz="quarter" idx="14"/>
          </p:nvPr>
        </p:nvSpPr>
        <p:spPr/>
        <p:txBody>
          <a:bodyPr/>
          <a:lstStyle/>
          <a:p>
            <a:endParaRPr lang="en-GB" dirty="0"/>
          </a:p>
        </p:txBody>
      </p:sp>
      <p:pic>
        <p:nvPicPr>
          <p:cNvPr id="10" name="Picture 9" descr="Logo&#10;&#10;Description automatically generated">
            <a:extLst>
              <a:ext uri="{FF2B5EF4-FFF2-40B4-BE49-F238E27FC236}">
                <a16:creationId xmlns:a16="http://schemas.microsoft.com/office/drawing/2014/main" id="{BADD38CF-8BDA-4241-92C2-0DB8F25AD8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389586830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losing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accent1"/>
                </a:solidFill>
              </a:defRPr>
            </a:lvl1pPr>
            <a:lvl2pPr marL="0" indent="0">
              <a:spcAft>
                <a:spcPts val="0"/>
              </a:spcAft>
              <a:buNone/>
              <a:defRPr sz="1200" b="1">
                <a:solidFill>
                  <a:schemeClr val="accent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descr="Logo&#10;&#10;Description automatically generated">
            <a:extLst>
              <a:ext uri="{FF2B5EF4-FFF2-40B4-BE49-F238E27FC236}">
                <a16:creationId xmlns:a16="http://schemas.microsoft.com/office/drawing/2014/main" id="{52807F74-89C1-C74A-9216-F45E8CFC4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C1D2148A-3978-D24D-BAB5-940EE414094B}"/>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dirty="0">
                <a:solidFill>
                  <a:schemeClr val="accent1"/>
                </a:solidFill>
                <a:effectLst/>
                <a:latin typeface="+mn-lt"/>
                <a:ea typeface="+mn-ea"/>
                <a:cs typeface="+mn-cs"/>
              </a:rPr>
              <a:t>Copyright © 2022 Merck &amp; Co., Inc., Rahway, NJ, USA and its affiliates. All rights reserved.</a:t>
            </a:r>
          </a:p>
        </p:txBody>
      </p:sp>
    </p:spTree>
    <p:extLst>
      <p:ext uri="{BB962C8B-B14F-4D97-AF65-F5344CB8AC3E}">
        <p14:creationId xmlns:p14="http://schemas.microsoft.com/office/powerpoint/2010/main" val="405856367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D605570-C002-6A4D-8BF8-3DBE2A5A424A}" type="datetime4">
              <a:rPr lang="en-US" smtClean="0"/>
              <a:t>September 24, 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8379706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01E205-D763-B848-ACFA-ED6174246933}" type="datetime4">
              <a:rPr lang="en-US" smtClean="0"/>
              <a:t>September 24, 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9CC380D-5F44-41E8-971E-CDD19ED6F8E3}" type="slidenum">
              <a:rPr lang="en-GB" smtClean="0"/>
              <a:t>‹#›</a:t>
            </a:fld>
            <a:endParaRPr lang="en-GB"/>
          </a:p>
        </p:txBody>
      </p:sp>
      <p:pic>
        <p:nvPicPr>
          <p:cNvPr id="6" name="Picture 5">
            <a:extLst>
              <a:ext uri="{FF2B5EF4-FFF2-40B4-BE49-F238E27FC236}">
                <a16:creationId xmlns:a16="http://schemas.microsoft.com/office/drawing/2014/main" id="{658CCCD6-443C-8B44-878A-06CB094BCE48}"/>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240956769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Logo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12C503-F4FA-E449-82E7-E8589FB68DB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123844950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Logo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DE5F6E-0235-224E-8AA4-87B78D2BDF0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248076" y="2147778"/>
            <a:ext cx="5556650" cy="2509210"/>
          </a:xfrm>
          <a:prstGeom prst="rect">
            <a:avLst/>
          </a:prstGeom>
        </p:spPr>
      </p:pic>
    </p:spTree>
    <p:extLst>
      <p:ext uri="{BB962C8B-B14F-4D97-AF65-F5344CB8AC3E}">
        <p14:creationId xmlns:p14="http://schemas.microsoft.com/office/powerpoint/2010/main" val="392571199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Logo Slide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CCC95244-134A-B743-9347-7EB93D327E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48076" y="2147777"/>
            <a:ext cx="5556650" cy="2509212"/>
          </a:xfrm>
          <a:prstGeom prst="rect">
            <a:avLst/>
          </a:prstGeom>
        </p:spPr>
      </p:pic>
    </p:spTree>
    <p:extLst>
      <p:ext uri="{BB962C8B-B14F-4D97-AF65-F5344CB8AC3E}">
        <p14:creationId xmlns:p14="http://schemas.microsoft.com/office/powerpoint/2010/main" val="34749287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46259"/>
            <a:ext cx="10962696" cy="1076155"/>
          </a:xfrm>
        </p:spPr>
        <p:txBody>
          <a:bodyPr/>
          <a:lstStyle/>
          <a:p>
            <a:r>
              <a:rPr lang="en-US" dirty="0"/>
              <a:t>&lt;2 column&gt;</a:t>
            </a:r>
          </a:p>
        </p:txBody>
      </p:sp>
      <p:sp>
        <p:nvSpPr>
          <p:cNvPr id="3" name="Content Placeholder 2"/>
          <p:cNvSpPr>
            <a:spLocks noGrp="1"/>
          </p:cNvSpPr>
          <p:nvPr>
            <p:ph idx="1"/>
          </p:nvPr>
        </p:nvSpPr>
        <p:spPr>
          <a:xfrm>
            <a:off x="6316720"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D97F68-CC38-3C48-B083-3B4A1457065E}" type="slidenum">
              <a:rPr lang="en-US" smtClean="0"/>
              <a:pPr/>
              <a:t>‹#›</a:t>
            </a:fld>
            <a:endParaRPr lang="en-US"/>
          </a:p>
        </p:txBody>
      </p:sp>
      <p:sp>
        <p:nvSpPr>
          <p:cNvPr id="9" name="Content Placeholder 2"/>
          <p:cNvSpPr>
            <a:spLocks noGrp="1"/>
          </p:cNvSpPr>
          <p:nvPr>
            <p:ph idx="13"/>
          </p:nvPr>
        </p:nvSpPr>
        <p:spPr>
          <a:xfrm>
            <a:off x="619545" y="1853399"/>
            <a:ext cx="5266313" cy="4290227"/>
          </a:xfrm>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descr="mrk_ifl_lg_rgb_dkgry_ppt.png"/>
          <p:cNvPicPr>
            <a:picLocks noChangeAspect="1"/>
          </p:cNvPicPr>
          <p:nvPr userDrawn="1"/>
        </p:nvPicPr>
        <p:blipFill>
          <a:blip r:embed="rId2"/>
          <a:srcRect l="8299" t="21858" r="7054" b="21311"/>
          <a:stretch>
            <a:fillRect/>
          </a:stretch>
        </p:blipFill>
        <p:spPr>
          <a:xfrm>
            <a:off x="8516025" y="6194424"/>
            <a:ext cx="2195132" cy="559129"/>
          </a:xfrm>
          <a:prstGeom prst="rect">
            <a:avLst/>
          </a:prstGeom>
        </p:spPr>
      </p:pic>
      <p:pic>
        <p:nvPicPr>
          <p:cNvPr id="8" name="Picture 2" descr="C:\Users\Forringr\AppData\Local\Microsoft\Windows\Temporary Internet Files\Content.Outlook\WRMKZ3N8\MGCDA_ICON_NEW TAG.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74545" y="6261034"/>
            <a:ext cx="1133192" cy="49351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4810439" y="6292349"/>
            <a:ext cx="1515979" cy="430887"/>
          </a:xfrm>
          <a:prstGeom prst="rect">
            <a:avLst/>
          </a:prstGeom>
          <a:noFill/>
        </p:spPr>
        <p:txBody>
          <a:bodyPr wrap="square" lIns="0" tIns="0" rIns="0" bIns="0" rtlCol="0" anchor="t" anchorCtr="0">
            <a:spAutoFit/>
          </a:bodyPr>
          <a:lstStyle/>
          <a:p>
            <a:pPr algn="r"/>
            <a:r>
              <a:rPr lang="en-US" sz="1400" b="1" kern="600" spc="30" dirty="0">
                <a:solidFill>
                  <a:schemeClr val="accent2"/>
                </a:solidFill>
              </a:rPr>
              <a:t>Global </a:t>
            </a:r>
          </a:p>
          <a:p>
            <a:pPr algn="r"/>
            <a:r>
              <a:rPr lang="en-US" sz="1400" b="1" kern="600" spc="30" dirty="0">
                <a:solidFill>
                  <a:schemeClr val="accent2"/>
                </a:solidFill>
              </a:rPr>
              <a:t>Analytics</a:t>
            </a:r>
          </a:p>
        </p:txBody>
      </p:sp>
      <p:pic>
        <p:nvPicPr>
          <p:cNvPr id="15" name="bjClassifierImageBottom">
            <a:extLst>
              <a:ext uri="{FF2B5EF4-FFF2-40B4-BE49-F238E27FC236}">
                <a16:creationId xmlns:a16="http://schemas.microsoft.com/office/drawing/2014/main" id="{A61F3296-3A60-48B0-8597-AC5CDC2A42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19642978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 Cover slide">
    <p:spTree>
      <p:nvGrpSpPr>
        <p:cNvPr id="1" name=""/>
        <p:cNvGrpSpPr/>
        <p:nvPr/>
      </p:nvGrpSpPr>
      <p:grpSpPr>
        <a:xfrm>
          <a:off x="0" y="0"/>
          <a:ext cx="0" cy="0"/>
          <a:chOff x="0" y="0"/>
          <a:chExt cx="0" cy="0"/>
        </a:xfrm>
      </p:grpSpPr>
      <p:pic>
        <p:nvPicPr>
          <p:cNvPr id="8" name="Picture 7" descr="MRK_FirstPage.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ctrTitle" hasCustomPrompt="1"/>
          </p:nvPr>
        </p:nvSpPr>
        <p:spPr>
          <a:xfrm>
            <a:off x="616754" y="1185905"/>
            <a:ext cx="9298822" cy="2239920"/>
          </a:xfrm>
        </p:spPr>
        <p:txBody>
          <a:bodyPr/>
          <a:lstStyle>
            <a:lvl1pPr>
              <a:lnSpc>
                <a:spcPct val="78000"/>
              </a:lnSpc>
              <a:defRPr sz="4200" cap="all" spc="130">
                <a:solidFill>
                  <a:srgbClr val="FFFFFF"/>
                </a:solidFill>
              </a:defRPr>
            </a:lvl1pPr>
          </a:lstStyle>
          <a:p>
            <a:r>
              <a:rPr lang="en-US" dirty="0"/>
              <a:t>&lt;Insert title&gt;</a:t>
            </a:r>
          </a:p>
        </p:txBody>
      </p:sp>
      <p:sp>
        <p:nvSpPr>
          <p:cNvPr id="3" name="Subtitle 2"/>
          <p:cNvSpPr>
            <a:spLocks noGrp="1"/>
          </p:cNvSpPr>
          <p:nvPr>
            <p:ph type="subTitle" idx="1" hasCustomPrompt="1"/>
          </p:nvPr>
        </p:nvSpPr>
        <p:spPr>
          <a:xfrm>
            <a:off x="616755" y="5628837"/>
            <a:ext cx="4801849" cy="619563"/>
          </a:xfrm>
        </p:spPr>
        <p:txBody>
          <a:bodyPr/>
          <a:lstStyle>
            <a:lvl1pPr marL="0" indent="0" algn="l">
              <a:lnSpc>
                <a:spcPct val="90000"/>
              </a:lnSpc>
              <a:buNone/>
              <a:defRPr sz="2000" spc="3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lt;Insert subtitle – optional&gt;</a:t>
            </a:r>
          </a:p>
        </p:txBody>
      </p:sp>
      <p:sp>
        <p:nvSpPr>
          <p:cNvPr id="9" name="Text Placeholder 8"/>
          <p:cNvSpPr>
            <a:spLocks noGrp="1"/>
          </p:cNvSpPr>
          <p:nvPr>
            <p:ph type="body" sz="quarter" idx="13" hasCustomPrompt="1"/>
          </p:nvPr>
        </p:nvSpPr>
        <p:spPr>
          <a:xfrm>
            <a:off x="616755" y="5374232"/>
            <a:ext cx="2581947" cy="189351"/>
          </a:xfrm>
        </p:spPr>
        <p:txBody>
          <a:bodyPr/>
          <a:lstStyle>
            <a:lvl1pPr>
              <a:defRPr sz="1400" spc="30">
                <a:solidFill>
                  <a:schemeClr val="accent2"/>
                </a:solidFill>
              </a:defRPr>
            </a:lvl1pPr>
            <a:lvl2pPr>
              <a:defRPr sz="1400"/>
            </a:lvl2pPr>
            <a:lvl3pPr>
              <a:defRPr sz="1400"/>
            </a:lvl3pPr>
            <a:lvl4pPr>
              <a:defRPr sz="1400"/>
            </a:lvl4pPr>
            <a:lvl5pPr>
              <a:defRPr sz="1400"/>
            </a:lvl5pPr>
          </a:lstStyle>
          <a:p>
            <a:pPr lvl="0"/>
            <a:r>
              <a:rPr lang="en-US" dirty="0"/>
              <a:t>Insert Date Here</a:t>
            </a:r>
          </a:p>
        </p:txBody>
      </p:sp>
    </p:spTree>
    <p:extLst>
      <p:ext uri="{BB962C8B-B14F-4D97-AF65-F5344CB8AC3E}">
        <p14:creationId xmlns:p14="http://schemas.microsoft.com/office/powerpoint/2010/main" val="13323609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ubdivider – Warm Gray">
    <p:bg>
      <p:bgPr>
        <a:solidFill>
          <a:schemeClr val="accent4"/>
        </a:solidFill>
        <a:effectLst/>
      </p:bgPr>
    </p:bg>
    <p:spTree>
      <p:nvGrpSpPr>
        <p:cNvPr id="1" name=""/>
        <p:cNvGrpSpPr/>
        <p:nvPr/>
      </p:nvGrpSpPr>
      <p:grpSpPr>
        <a:xfrm>
          <a:off x="0" y="0"/>
          <a:ext cx="0" cy="0"/>
          <a:chOff x="0" y="0"/>
          <a:chExt cx="0" cy="0"/>
        </a:xfrm>
      </p:grpSpPr>
      <p:pic>
        <p:nvPicPr>
          <p:cNvPr id="7" name="Picture 6" descr="MRK_SubDivider.jpg"/>
          <p:cNvPicPr>
            <a:picLocks noChangeAspect="1"/>
          </p:cNvPicPr>
          <p:nvPr userDrawn="1"/>
        </p:nvPicPr>
        <p:blipFill>
          <a:blip r:embed="rId2"/>
          <a:stretch>
            <a:fillRect/>
          </a:stretch>
        </p:blipFill>
        <p:spPr bwMode="ltGray">
          <a:xfrm>
            <a:off x="-9211" y="-4858"/>
            <a:ext cx="12210420" cy="6867716"/>
          </a:xfrm>
          <a:prstGeom prst="rect">
            <a:avLst/>
          </a:prstGeom>
        </p:spPr>
      </p:pic>
      <p:sp>
        <p:nvSpPr>
          <p:cNvPr id="2" name="Title 1"/>
          <p:cNvSpPr>
            <a:spLocks noGrp="1"/>
          </p:cNvSpPr>
          <p:nvPr>
            <p:ph type="title" hasCustomPrompt="1"/>
          </p:nvPr>
        </p:nvSpPr>
        <p:spPr>
          <a:xfrm>
            <a:off x="619545" y="2256205"/>
            <a:ext cx="6570528" cy="2345590"/>
          </a:xfrm>
        </p:spPr>
        <p:txBody>
          <a:bodyPr anchor="ctr" anchorCtr="0"/>
          <a:lstStyle>
            <a:lvl1pPr algn="l">
              <a:lnSpc>
                <a:spcPct val="90000"/>
              </a:lnSpc>
              <a:defRPr sz="3600" b="0" cap="none" spc="50" baseline="0">
                <a:solidFill>
                  <a:schemeClr val="tx1"/>
                </a:solidFill>
              </a:defRPr>
            </a:lvl1pPr>
          </a:lstStyle>
          <a:p>
            <a:r>
              <a:rPr lang="en-US" dirty="0"/>
              <a:t>&lt;Insert Title&gt;</a:t>
            </a:r>
          </a:p>
        </p:txBody>
      </p:sp>
      <p:sp>
        <p:nvSpPr>
          <p:cNvPr id="3" name="Text Placeholder 2"/>
          <p:cNvSpPr>
            <a:spLocks noGrp="1"/>
          </p:cNvSpPr>
          <p:nvPr>
            <p:ph type="body" idx="1" hasCustomPrompt="1"/>
          </p:nvPr>
        </p:nvSpPr>
        <p:spPr>
          <a:xfrm>
            <a:off x="619545" y="4631270"/>
            <a:ext cx="6570528" cy="1380067"/>
          </a:xfrm>
        </p:spPr>
        <p:txBody>
          <a:bodyPr anchor="t" anchorCtr="0"/>
          <a:lstStyle>
            <a:lvl1pPr marL="0" indent="0">
              <a:lnSpc>
                <a:spcPct val="95000"/>
              </a:lnSpc>
              <a:buNone/>
              <a:defRPr sz="2000" baseline="0">
                <a:solidFill>
                  <a:srgbClr val="000000"/>
                </a:solidFill>
              </a:defRPr>
            </a:lvl1pPr>
            <a:lvl2pPr marL="185738" indent="-152400">
              <a:lnSpc>
                <a:spcPct val="95000"/>
              </a:lnSpc>
              <a:spcBef>
                <a:spcPts val="200"/>
              </a:spcBef>
              <a:buFont typeface="Arial"/>
              <a:buChar char="•"/>
              <a:defRPr sz="2000">
                <a:solidFill>
                  <a:srgbClr val="000000"/>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lt;Optional Subtitle&gt;</a:t>
            </a:r>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74D97F68-CC38-3C48-B083-3B4A1457065E}" type="slidenum">
              <a:rPr lang="en-US" smtClean="0"/>
              <a:pPr/>
              <a:t>‹#›</a:t>
            </a:fld>
            <a:endParaRPr lang="en-US"/>
          </a:p>
        </p:txBody>
      </p:sp>
      <p:grpSp>
        <p:nvGrpSpPr>
          <p:cNvPr id="8" name="Group 7"/>
          <p:cNvGrpSpPr/>
          <p:nvPr userDrawn="1"/>
        </p:nvGrpSpPr>
        <p:grpSpPr>
          <a:xfrm>
            <a:off x="93462" y="5977662"/>
            <a:ext cx="4835583" cy="789128"/>
            <a:chOff x="222030" y="5963374"/>
            <a:chExt cx="4834324" cy="789128"/>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030" y="5963374"/>
              <a:ext cx="789128" cy="789128"/>
            </a:xfrm>
            <a:prstGeom prst="rect">
              <a:avLst/>
            </a:prstGeom>
            <a:effectLst>
              <a:softEdge rad="38100"/>
            </a:effectLst>
          </p:spPr>
        </p:pic>
        <p:sp>
          <p:nvSpPr>
            <p:cNvPr id="10" name="TextBox 9"/>
            <p:cNvSpPr txBox="1"/>
            <p:nvPr/>
          </p:nvSpPr>
          <p:spPr>
            <a:xfrm>
              <a:off x="1053624" y="6019384"/>
              <a:ext cx="4002730" cy="677108"/>
            </a:xfrm>
            <a:prstGeom prst="rect">
              <a:avLst/>
            </a:prstGeom>
            <a:noFill/>
          </p:spPr>
          <p:txBody>
            <a:bodyPr wrap="square" lIns="0" tIns="0" rIns="0" bIns="0" rtlCol="0" anchor="t" anchorCtr="0">
              <a:spAutoFit/>
            </a:bodyPr>
            <a:lstStyle/>
            <a:p>
              <a:r>
                <a:rPr lang="en-US" sz="2000" b="1" u="sng" kern="600" spc="30" dirty="0">
                  <a:solidFill>
                    <a:schemeClr val="tx1"/>
                  </a:solidFill>
                  <a:uFill>
                    <a:solidFill>
                      <a:schemeClr val="accent2"/>
                    </a:solidFill>
                  </a:uFill>
                </a:rPr>
                <a:t>CUSTOMER &amp; DATA ANALYTICS</a:t>
              </a:r>
            </a:p>
            <a:p>
              <a:r>
                <a:rPr lang="en-US" sz="1800" b="1" kern="600" spc="30" dirty="0">
                  <a:solidFill>
                    <a:schemeClr val="tx1"/>
                  </a:solidFill>
                  <a:latin typeface="Calibri" panose="020F0502020204030204" pitchFamily="34" charset="0"/>
                  <a:cs typeface="Calibri" panose="020F0502020204030204" pitchFamily="34" charset="0"/>
                </a:rPr>
                <a:t>Making </a:t>
              </a:r>
              <a:r>
                <a:rPr lang="en-US" sz="2400" b="1" kern="600" spc="30" dirty="0">
                  <a:solidFill>
                    <a:schemeClr val="tx1"/>
                  </a:solidFill>
                  <a:latin typeface="Calibri" panose="020F0502020204030204" pitchFamily="34" charset="0"/>
                  <a:cs typeface="Calibri" panose="020F0502020204030204" pitchFamily="34" charset="0"/>
                </a:rPr>
                <a:t>BIG</a:t>
              </a:r>
              <a:r>
                <a:rPr lang="en-US" sz="1800" b="1" kern="600" spc="30" dirty="0">
                  <a:solidFill>
                    <a:schemeClr val="tx1"/>
                  </a:solidFill>
                  <a:latin typeface="Calibri" panose="020F0502020204030204" pitchFamily="34" charset="0"/>
                  <a:cs typeface="Calibri" panose="020F0502020204030204" pitchFamily="34" charset="0"/>
                </a:rPr>
                <a:t> Data </a:t>
              </a:r>
              <a:r>
                <a:rPr lang="en-US" sz="1400" b="1" kern="600" spc="30" dirty="0">
                  <a:solidFill>
                    <a:schemeClr val="tx1"/>
                  </a:solidFill>
                  <a:latin typeface="Calibri" panose="020F0502020204030204" pitchFamily="34" charset="0"/>
                  <a:cs typeface="Calibri" panose="020F0502020204030204" pitchFamily="34" charset="0"/>
                </a:rPr>
                <a:t>SMALL</a:t>
              </a:r>
            </a:p>
          </p:txBody>
        </p:sp>
      </p:grpSp>
    </p:spTree>
    <p:extLst>
      <p:ext uri="{BB962C8B-B14F-4D97-AF65-F5344CB8AC3E}">
        <p14:creationId xmlns:p14="http://schemas.microsoft.com/office/powerpoint/2010/main" val="2998659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Three Images">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73107064-D3CA-49F7-8E72-46608079AF98}"/>
              </a:ext>
            </a:extLst>
          </p:cNvPr>
          <p:cNvSpPr>
            <a:spLocks noGrp="1"/>
          </p:cNvSpPr>
          <p:nvPr>
            <p:ph type="pic" sz="quarter" idx="12"/>
          </p:nvPr>
        </p:nvSpPr>
        <p:spPr>
          <a:xfrm>
            <a:off x="6138600" y="3384000"/>
            <a:ext cx="1913400" cy="1683000"/>
          </a:xfrm>
          <a:prstGeom prst="rect">
            <a:avLst/>
          </a:prstGeom>
          <a:solidFill>
            <a:schemeClr val="bg1">
              <a:lumMod val="85000"/>
            </a:schemeClr>
          </a:solidFill>
        </p:spPr>
        <p:txBody>
          <a:bodyPr/>
          <a:lstStyle/>
          <a:p>
            <a:r>
              <a:rPr lang="en-US"/>
              <a:t>Click icon to add picture</a:t>
            </a:r>
            <a:endParaRPr lang="en-GB"/>
          </a:p>
        </p:txBody>
      </p:sp>
      <p:sp>
        <p:nvSpPr>
          <p:cNvPr id="2" name="Title 1"/>
          <p:cNvSpPr>
            <a:spLocks noGrp="1"/>
          </p:cNvSpPr>
          <p:nvPr>
            <p:ph type="ctrTitle"/>
          </p:nvPr>
        </p:nvSpPr>
        <p:spPr>
          <a:xfrm>
            <a:off x="377825" y="1228725"/>
            <a:ext cx="4932729" cy="2200275"/>
          </a:xfrm>
        </p:spPr>
        <p:txBody>
          <a:bodyPr anchor="b"/>
          <a:lstStyle>
            <a:lvl1pPr algn="l">
              <a:defRPr sz="4250">
                <a:latin typeface="+mj-lt"/>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377825" y="3682800"/>
            <a:ext cx="4932729"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month/day/year)</a:t>
            </a:r>
          </a:p>
        </p:txBody>
      </p:sp>
      <p:sp>
        <p:nvSpPr>
          <p:cNvPr id="5" name="Picture Placeholder 4">
            <a:extLst>
              <a:ext uri="{FF2B5EF4-FFF2-40B4-BE49-F238E27FC236}">
                <a16:creationId xmlns:a16="http://schemas.microsoft.com/office/drawing/2014/main" id="{546E6AF0-C66B-4B32-964D-86B588C01D6D}"/>
              </a:ext>
            </a:extLst>
          </p:cNvPr>
          <p:cNvSpPr>
            <a:spLocks noGrp="1"/>
          </p:cNvSpPr>
          <p:nvPr>
            <p:ph type="pic" sz="quarter" idx="11"/>
          </p:nvPr>
        </p:nvSpPr>
        <p:spPr>
          <a:xfrm>
            <a:off x="8052000" y="0"/>
            <a:ext cx="4140000" cy="3384000"/>
          </a:xfrm>
          <a:prstGeom prst="rect">
            <a:avLst/>
          </a:prstGeom>
          <a:solidFill>
            <a:schemeClr val="bg1">
              <a:lumMod val="85000"/>
            </a:schemeClr>
          </a:solidFill>
        </p:spPr>
        <p:txBody>
          <a:bodyPr/>
          <a:lstStyle/>
          <a:p>
            <a:r>
              <a:rPr lang="en-US"/>
              <a:t>Click icon to add picture</a:t>
            </a:r>
            <a:endParaRPr lang="en-GB"/>
          </a:p>
        </p:txBody>
      </p:sp>
      <p:sp>
        <p:nvSpPr>
          <p:cNvPr id="6" name="Rectangle 5">
            <a:extLst>
              <a:ext uri="{FF2B5EF4-FFF2-40B4-BE49-F238E27FC236}">
                <a16:creationId xmlns:a16="http://schemas.microsoft.com/office/drawing/2014/main" id="{11C85666-16D6-4604-851C-B7A185B1DF28}"/>
              </a:ext>
            </a:extLst>
          </p:cNvPr>
          <p:cNvSpPr/>
          <p:nvPr userDrawn="1"/>
        </p:nvSpPr>
        <p:spPr>
          <a:xfrm>
            <a:off x="7674000" y="6003750"/>
            <a:ext cx="378000" cy="3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10" name="Picture Placeholder 4">
            <a:extLst>
              <a:ext uri="{FF2B5EF4-FFF2-40B4-BE49-F238E27FC236}">
                <a16:creationId xmlns:a16="http://schemas.microsoft.com/office/drawing/2014/main" id="{902C68CA-982E-4DE8-82EB-BF63660F9C21}"/>
              </a:ext>
            </a:extLst>
          </p:cNvPr>
          <p:cNvSpPr>
            <a:spLocks noGrp="1"/>
          </p:cNvSpPr>
          <p:nvPr>
            <p:ph type="pic" sz="quarter" idx="13"/>
          </p:nvPr>
        </p:nvSpPr>
        <p:spPr>
          <a:xfrm>
            <a:off x="8052000" y="5067000"/>
            <a:ext cx="1351800" cy="936750"/>
          </a:xfrm>
          <a:prstGeom prst="rect">
            <a:avLst/>
          </a:prstGeom>
          <a:solidFill>
            <a:schemeClr val="bg1">
              <a:lumMod val="85000"/>
            </a:schemeClr>
          </a:solidFill>
        </p:spPr>
        <p:txBody>
          <a:bodyPr/>
          <a:lstStyle/>
          <a:p>
            <a:r>
              <a:rPr lang="en-US"/>
              <a:t>Click icon to add picture</a:t>
            </a:r>
            <a:endParaRPr lang="en-GB"/>
          </a:p>
        </p:txBody>
      </p:sp>
      <p:sp>
        <p:nvSpPr>
          <p:cNvPr id="14" name="Footer Placeholder 13">
            <a:extLst>
              <a:ext uri="{FF2B5EF4-FFF2-40B4-BE49-F238E27FC236}">
                <a16:creationId xmlns:a16="http://schemas.microsoft.com/office/drawing/2014/main" id="{54940B72-A25F-DD4E-B080-EF804C93C3EB}"/>
              </a:ext>
            </a:extLst>
          </p:cNvPr>
          <p:cNvSpPr>
            <a:spLocks noGrp="1"/>
          </p:cNvSpPr>
          <p:nvPr>
            <p:ph type="ftr" sz="quarter" idx="15"/>
          </p:nvPr>
        </p:nvSpPr>
        <p:spPr/>
        <p:txBody>
          <a:bodyPr/>
          <a:lstStyle/>
          <a:p>
            <a:endParaRPr lang="en-GB" dirty="0"/>
          </a:p>
        </p:txBody>
      </p:sp>
      <p:pic>
        <p:nvPicPr>
          <p:cNvPr id="13" name="Picture 12" descr="Logo&#10;&#10;Description automatically generated">
            <a:extLst>
              <a:ext uri="{FF2B5EF4-FFF2-40B4-BE49-F238E27FC236}">
                <a16:creationId xmlns:a16="http://schemas.microsoft.com/office/drawing/2014/main" id="{A9217C54-93DD-8E47-A23F-F97CF894EE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28427877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Blank White">
    <p:spTree>
      <p:nvGrpSpPr>
        <p:cNvPr id="1" name=""/>
        <p:cNvGrpSpPr/>
        <p:nvPr/>
      </p:nvGrpSpPr>
      <p:grpSpPr>
        <a:xfrm>
          <a:off x="0" y="0"/>
          <a:ext cx="0" cy="0"/>
          <a:chOff x="0" y="0"/>
          <a:chExt cx="0" cy="0"/>
        </a:xfrm>
      </p:grpSpPr>
      <p:sp>
        <p:nvSpPr>
          <p:cNvPr id="2" name="Title 1"/>
          <p:cNvSpPr>
            <a:spLocks noGrp="1"/>
          </p:cNvSpPr>
          <p:nvPr>
            <p:ph type="ctrTitle"/>
          </p:nvPr>
        </p:nvSpPr>
        <p:spPr>
          <a:xfrm>
            <a:off x="377824" y="1228725"/>
            <a:ext cx="9445752" cy="2200275"/>
          </a:xfrm>
        </p:spPr>
        <p:txBody>
          <a:bodyPr anchor="b"/>
          <a:lstStyle>
            <a:lvl1pPr algn="l">
              <a:defRPr sz="4250"/>
            </a:lvl1pPr>
          </a:lstStyle>
          <a:p>
            <a:r>
              <a:rPr lang="en-US"/>
              <a:t>Click to edit Master title style</a:t>
            </a:r>
            <a:endParaRPr lang="en-US" dirty="0"/>
          </a:p>
        </p:txBody>
      </p:sp>
      <p:sp>
        <p:nvSpPr>
          <p:cNvPr id="3" name="Subtitle 2"/>
          <p:cNvSpPr>
            <a:spLocks noGrp="1"/>
          </p:cNvSpPr>
          <p:nvPr>
            <p:ph type="subTitle" idx="1"/>
          </p:nvPr>
        </p:nvSpPr>
        <p:spPr>
          <a:xfrm>
            <a:off x="377824" y="3682800"/>
            <a:ext cx="9445752"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6174001"/>
            <a:ext cx="3607594" cy="20774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10" name="Footer Placeholder 9">
            <a:extLst>
              <a:ext uri="{FF2B5EF4-FFF2-40B4-BE49-F238E27FC236}">
                <a16:creationId xmlns:a16="http://schemas.microsoft.com/office/drawing/2014/main" id="{AE3081D7-228C-7F4B-B2F0-F8F6D2CAB5BE}"/>
              </a:ext>
            </a:extLst>
          </p:cNvPr>
          <p:cNvSpPr>
            <a:spLocks noGrp="1"/>
          </p:cNvSpPr>
          <p:nvPr>
            <p:ph type="ftr" sz="quarter" idx="12"/>
          </p:nvPr>
        </p:nvSpPr>
        <p:spPr/>
        <p:txBody>
          <a:bodyPr/>
          <a:lstStyle/>
          <a:p>
            <a:endParaRPr lang="en-GB" dirty="0"/>
          </a:p>
        </p:txBody>
      </p:sp>
      <p:pic>
        <p:nvPicPr>
          <p:cNvPr id="7" name="Picture 6" descr="Logo&#10;&#10;Description automatically generated">
            <a:extLst>
              <a:ext uri="{FF2B5EF4-FFF2-40B4-BE49-F238E27FC236}">
                <a16:creationId xmlns:a16="http://schemas.microsoft.com/office/drawing/2014/main" id="{A21D473B-03CC-A840-9172-E75A8523CF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8753369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7825" y="1925636"/>
            <a:ext cx="11436350"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A95877B-9B68-6D4A-BCF8-960EAC37048D}"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35226988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Vertical Line">
    <p:spTree>
      <p:nvGrpSpPr>
        <p:cNvPr id="1" name=""/>
        <p:cNvGrpSpPr/>
        <p:nvPr/>
      </p:nvGrpSpPr>
      <p:grpSpPr>
        <a:xfrm>
          <a:off x="0" y="0"/>
          <a:ext cx="0" cy="0"/>
          <a:chOff x="0" y="0"/>
          <a:chExt cx="0" cy="0"/>
        </a:xfrm>
      </p:grpSpPr>
      <p:sp>
        <p:nvSpPr>
          <p:cNvPr id="2" name="Title 1"/>
          <p:cNvSpPr>
            <a:spLocks noGrp="1"/>
          </p:cNvSpPr>
          <p:nvPr>
            <p:ph type="title"/>
          </p:nvPr>
        </p:nvSpPr>
        <p:spPr>
          <a:xfrm>
            <a:off x="747622" y="1925636"/>
            <a:ext cx="2104845" cy="4456114"/>
          </a:xfrm>
        </p:spPr>
        <p:txBody>
          <a:bodyPr anchor="t"/>
          <a:lstStyle/>
          <a:p>
            <a:r>
              <a:rPr lang="en-US"/>
              <a:t>Click to edit Master title style</a:t>
            </a:r>
            <a:endParaRPr lang="en-US" dirty="0"/>
          </a:p>
        </p:txBody>
      </p:sp>
      <p:sp>
        <p:nvSpPr>
          <p:cNvPr id="3" name="Content Placeholder 2"/>
          <p:cNvSpPr>
            <a:spLocks noGrp="1"/>
          </p:cNvSpPr>
          <p:nvPr>
            <p:ph idx="1"/>
          </p:nvPr>
        </p:nvSpPr>
        <p:spPr>
          <a:xfrm>
            <a:off x="4292599" y="1925636"/>
            <a:ext cx="7521575" cy="4456111"/>
          </a:xfrm>
          <a:prstGeom prst="rect">
            <a:avLst/>
          </a:prstGeom>
        </p:spPr>
        <p:txBody>
          <a:bodyPr/>
          <a:lstStyle>
            <a:lvl1pPr marL="342900" indent="-342900">
              <a:lnSpc>
                <a:spcPct val="100000"/>
              </a:lnSpc>
              <a:spcBef>
                <a:spcPts val="1600"/>
              </a:spcBef>
              <a:spcAft>
                <a:spcPts val="1600"/>
              </a:spcAft>
              <a:buFont typeface="+mj-lt"/>
              <a:buAutoNum type="arabicPeriod"/>
              <a:defRPr sz="1600"/>
            </a:lvl1pPr>
            <a:lvl2pPr marL="342900" indent="-342900">
              <a:lnSpc>
                <a:spcPct val="100000"/>
              </a:lnSpc>
              <a:spcBef>
                <a:spcPts val="1600"/>
              </a:spcBef>
              <a:spcAft>
                <a:spcPts val="1600"/>
              </a:spcAft>
              <a:buFont typeface="+mj-lt"/>
              <a:buAutoNum type="arabicPeriod"/>
              <a:defRPr sz="1600">
                <a:solidFill>
                  <a:schemeClr val="bg1">
                    <a:lumMod val="85000"/>
                  </a:schemeClr>
                </a:solidFill>
              </a:defRPr>
            </a:lvl2pPr>
            <a:lvl3pPr marL="342900" indent="-342900">
              <a:lnSpc>
                <a:spcPct val="100000"/>
              </a:lnSpc>
              <a:spcBef>
                <a:spcPts val="1600"/>
              </a:spcBef>
              <a:spcAft>
                <a:spcPts val="1600"/>
              </a:spcAft>
              <a:buFont typeface="+mj-lt"/>
              <a:buAutoNum type="arabicPeriod"/>
              <a:defRPr sz="1600" b="1">
                <a:solidFill>
                  <a:schemeClr val="accent1"/>
                </a:solidFill>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p>
            <a:fld id="{CDA2286A-215E-1447-8183-44810891358B}" type="datetime4">
              <a:rPr lang="en-US" smtClean="0"/>
              <a:t>September 24, 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cxnSp>
        <p:nvCxnSpPr>
          <p:cNvPr id="7" name="Straight Connector 6">
            <a:extLst>
              <a:ext uri="{FF2B5EF4-FFF2-40B4-BE49-F238E27FC236}">
                <a16:creationId xmlns:a16="http://schemas.microsoft.com/office/drawing/2014/main" id="{3C476A1C-450C-4513-925D-8391EFA2E70F}"/>
              </a:ext>
            </a:extLst>
          </p:cNvPr>
          <p:cNvCxnSpPr/>
          <p:nvPr userDrawn="1"/>
        </p:nvCxnSpPr>
        <p:spPr>
          <a:xfrm>
            <a:off x="3051313" y="516835"/>
            <a:ext cx="0" cy="596334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979248C1-85D6-0A41-9196-18D936195E34}"/>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423741799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4" y="377825"/>
            <a:ext cx="11439144" cy="850107"/>
          </a:xfrm>
          <a:prstGeom prst="rect">
            <a:avLst/>
          </a:prstGeom>
        </p:spPr>
        <p:txBody>
          <a:bodyPr vert="horz" lIns="0" tIns="0" rIns="0" bIns="0" rtlCol="0" anchor="ctr">
            <a:noAutofit/>
          </a:bodyPr>
          <a:lstStyle/>
          <a:p>
            <a:pPr lvl="0"/>
            <a:r>
              <a:rPr lang="en-US"/>
              <a:t>Click to edit Master title style</a:t>
            </a:r>
            <a:endParaRPr lang="en-US" dirty="0"/>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fld id="{05972683-51EE-5F41-850D-F4F103575C34}" type="datetime4">
              <a:rPr lang="en-US" smtClean="0"/>
              <a:t>September 24, 2023</a:t>
            </a:fld>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none" baseline="0">
                <a:solidFill>
                  <a:srgbClr val="9EA7B3"/>
                </a:solidFill>
              </a:defRPr>
            </a:lvl1pPr>
          </a:lstStyle>
          <a:p>
            <a:endParaRPr lang="en-GB" dirty="0"/>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948B2952-F7B1-FB4B-A859-8048BF0DBB79}"/>
              </a:ext>
            </a:extLst>
          </p:cNvPr>
          <p:cNvSpPr>
            <a:spLocks noGrp="1"/>
          </p:cNvSpPr>
          <p:nvPr>
            <p:ph type="body" idx="1"/>
          </p:nvPr>
        </p:nvSpPr>
        <p:spPr>
          <a:xfrm>
            <a:off x="374904" y="1929384"/>
            <a:ext cx="11439144" cy="4453128"/>
          </a:xfrm>
          <a:prstGeom prst="rect">
            <a:avLst/>
          </a:prstGeom>
        </p:spPr>
        <p:txBody>
          <a:bodyPr vert="horz" lIns="0" tIns="0" rIns="0" bIns="0" rtlCol="0" anchor="t">
            <a:noAutofit/>
          </a:body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endParaRPr lang="en-US" dirty="0"/>
          </a:p>
        </p:txBody>
      </p:sp>
      <p:pic>
        <p:nvPicPr>
          <p:cNvPr id="10" name="Picture 9">
            <a:extLst>
              <a:ext uri="{FF2B5EF4-FFF2-40B4-BE49-F238E27FC236}">
                <a16:creationId xmlns:a16="http://schemas.microsoft.com/office/drawing/2014/main" id="{310E875C-199D-1849-9C39-2C6C19A6CF53}"/>
              </a:ext>
            </a:extLst>
          </p:cNvPr>
          <p:cNvPicPr>
            <a:picLocks noChangeAspect="1"/>
          </p:cNvPicPr>
          <p:nvPr userDrawn="1"/>
        </p:nvPicPr>
        <p:blipFill>
          <a:blip r:embed="rId60">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
        <p:nvSpPr>
          <p:cNvPr id="3" name="MSIPCMContentMarking" descr="{&quot;HashCode&quot;:239775164,&quot;Placement&quot;:&quot;Header&quot;,&quot;Top&quot;:0.0,&quot;Left&quot;:0.0,&quot;SlideWidth&quot;:960,&quot;SlideHeight&quot;:540}">
            <a:extLst>
              <a:ext uri="{FF2B5EF4-FFF2-40B4-BE49-F238E27FC236}">
                <a16:creationId xmlns:a16="http://schemas.microsoft.com/office/drawing/2014/main" id="{46AA26BA-D8B4-4593-8CCC-FC18C6E052FD}"/>
              </a:ext>
            </a:extLst>
          </p:cNvPr>
          <p:cNvSpPr txBox="1"/>
          <p:nvPr userDrawn="1"/>
        </p:nvSpPr>
        <p:spPr>
          <a:xfrm>
            <a:off x="0" y="0"/>
            <a:ext cx="1018019" cy="296525"/>
          </a:xfrm>
          <a:prstGeom prst="rect">
            <a:avLst/>
          </a:prstGeom>
          <a:noFill/>
        </p:spPr>
        <p:txBody>
          <a:bodyPr vert="horz" wrap="square" lIns="0" tIns="0" rIns="0" bIns="0" rtlCol="0" anchor="ctr" anchorCtr="1">
            <a:noAutofit/>
          </a:bodyPr>
          <a:lstStyle/>
          <a:p>
            <a:pPr algn="l">
              <a:spcBef>
                <a:spcPts val="0"/>
              </a:spcBef>
              <a:spcAft>
                <a:spcPts val="0"/>
              </a:spcAft>
            </a:pPr>
            <a:r>
              <a:rPr lang="en-US" sz="1200">
                <a:solidFill>
                  <a:srgbClr val="00B294"/>
                </a:solidFill>
                <a:latin typeface="Calibri" panose="020F0502020204030204" pitchFamily="34" charset="0"/>
              </a:rPr>
              <a:t>Proprietary</a:t>
            </a:r>
            <a:endParaRPr lang="en-US" sz="1200" dirty="0">
              <a:solidFill>
                <a:srgbClr val="00B294"/>
              </a:solidFill>
              <a:latin typeface="Calibri" panose="020F0502020204030204" pitchFamily="34" charset="0"/>
            </a:endParaRPr>
          </a:p>
        </p:txBody>
      </p:sp>
    </p:spTree>
    <p:extLst>
      <p:ext uri="{BB962C8B-B14F-4D97-AF65-F5344CB8AC3E}">
        <p14:creationId xmlns:p14="http://schemas.microsoft.com/office/powerpoint/2010/main" val="5540495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84" r:id="rId3"/>
    <p:sldLayoutId id="2147483685" r:id="rId4"/>
    <p:sldLayoutId id="2147483686" r:id="rId5"/>
    <p:sldLayoutId id="2147483687" r:id="rId6"/>
    <p:sldLayoutId id="2147483688" r:id="rId7"/>
    <p:sldLayoutId id="2147483722" r:id="rId8"/>
    <p:sldLayoutId id="2147483723" r:id="rId9"/>
    <p:sldLayoutId id="2147483676" r:id="rId10"/>
    <p:sldLayoutId id="2147483721" r:id="rId11"/>
    <p:sldLayoutId id="2147483724" r:id="rId12"/>
    <p:sldLayoutId id="2147483710" r:id="rId13"/>
    <p:sldLayoutId id="2147483709" r:id="rId14"/>
    <p:sldLayoutId id="2147483691" r:id="rId15"/>
    <p:sldLayoutId id="2147483729" r:id="rId16"/>
    <p:sldLayoutId id="2147483725" r:id="rId17"/>
    <p:sldLayoutId id="2147483701" r:id="rId18"/>
    <p:sldLayoutId id="2147483702" r:id="rId19"/>
    <p:sldLayoutId id="2147483726" r:id="rId20"/>
    <p:sldLayoutId id="2147483728" r:id="rId21"/>
    <p:sldLayoutId id="2147483727" r:id="rId22"/>
    <p:sldLayoutId id="2147483730" r:id="rId23"/>
    <p:sldLayoutId id="2147483731" r:id="rId24"/>
    <p:sldLayoutId id="2147483700" r:id="rId25"/>
    <p:sldLayoutId id="2147483705" r:id="rId26"/>
    <p:sldLayoutId id="2147483704" r:id="rId27"/>
    <p:sldLayoutId id="2147483706" r:id="rId28"/>
    <p:sldLayoutId id="2147483707" r:id="rId29"/>
    <p:sldLayoutId id="2147483703" r:id="rId30"/>
    <p:sldLayoutId id="2147483696" r:id="rId31"/>
    <p:sldLayoutId id="2147483695" r:id="rId32"/>
    <p:sldLayoutId id="2147483697" r:id="rId33"/>
    <p:sldLayoutId id="2147483675" r:id="rId34"/>
    <p:sldLayoutId id="2147483692" r:id="rId35"/>
    <p:sldLayoutId id="2147483693" r:id="rId36"/>
    <p:sldLayoutId id="2147483698" r:id="rId37"/>
    <p:sldLayoutId id="2147483699" r:id="rId38"/>
    <p:sldLayoutId id="2147483689" r:id="rId39"/>
    <p:sldLayoutId id="2147483690" r:id="rId40"/>
    <p:sldLayoutId id="2147483711" r:id="rId41"/>
    <p:sldLayoutId id="2147483715" r:id="rId42"/>
    <p:sldLayoutId id="2147483712" r:id="rId43"/>
    <p:sldLayoutId id="2147483713" r:id="rId44"/>
    <p:sldLayoutId id="2147483714" r:id="rId45"/>
    <p:sldLayoutId id="2147483718" r:id="rId46"/>
    <p:sldLayoutId id="2147483716" r:id="rId47"/>
    <p:sldLayoutId id="2147483717" r:id="rId48"/>
    <p:sldLayoutId id="2147483720" r:id="rId49"/>
    <p:sldLayoutId id="2147483719" r:id="rId50"/>
    <p:sldLayoutId id="2147483678" r:id="rId51"/>
    <p:sldLayoutId id="2147483679" r:id="rId52"/>
    <p:sldLayoutId id="2147483732" r:id="rId53"/>
    <p:sldLayoutId id="2147483733" r:id="rId54"/>
    <p:sldLayoutId id="2147483734" r:id="rId55"/>
    <p:sldLayoutId id="2147483735" r:id="rId56"/>
    <p:sldLayoutId id="2147483738" r:id="rId57"/>
    <p:sldLayoutId id="2147483739" r:id="rId58"/>
  </p:sldLayoutIdLst>
  <p:transition>
    <p:fade/>
  </p:transition>
  <p:hf hdr="0" ftr="0" dt="0"/>
  <p:txStyles>
    <p:titleStyle>
      <a:lvl1pPr algn="l" defTabSz="914400" rtl="0" eaLnBrk="1" latinLnBrk="0" hangingPunct="1">
        <a:lnSpc>
          <a:spcPct val="90000"/>
        </a:lnSpc>
        <a:spcBef>
          <a:spcPct val="0"/>
        </a:spcBef>
        <a:buNone/>
        <a:defRPr lang="en-US" sz="2750" kern="1200" dirty="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38" userDrawn="1">
          <p15:clr>
            <a:srgbClr val="F26B43"/>
          </p15:clr>
        </p15:guide>
        <p15:guide id="4" pos="2511" userDrawn="1">
          <p15:clr>
            <a:srgbClr val="F26B43"/>
          </p15:clr>
        </p15:guide>
        <p15:guide id="5" pos="2704" userDrawn="1">
          <p15:clr>
            <a:srgbClr val="F26B43"/>
          </p15:clr>
        </p15:guide>
        <p15:guide id="6" pos="4977" userDrawn="1">
          <p15:clr>
            <a:srgbClr val="F26B43"/>
          </p15:clr>
        </p15:guide>
        <p15:guide id="7" pos="5169" userDrawn="1">
          <p15:clr>
            <a:srgbClr val="F26B43"/>
          </p15:clr>
        </p15:guide>
        <p15:guide id="8" pos="7442" userDrawn="1">
          <p15:clr>
            <a:srgbClr val="F26B43"/>
          </p15:clr>
        </p15:guide>
        <p15:guide id="9" orient="horz" pos="238" userDrawn="1">
          <p15:clr>
            <a:srgbClr val="F26B43"/>
          </p15:clr>
        </p15:guide>
        <p15:guide id="10" orient="horz" pos="4020" userDrawn="1">
          <p15:clr>
            <a:srgbClr val="F26B43"/>
          </p15:clr>
        </p15:guide>
        <p15:guide id="11" orient="horz" pos="1751" userDrawn="1">
          <p15:clr>
            <a:srgbClr val="F26B43"/>
          </p15:clr>
        </p15:guide>
        <p15:guide id="12" orient="horz" pos="1213" userDrawn="1">
          <p15:clr>
            <a:srgbClr val="F26B43"/>
          </p15:clr>
        </p15:guide>
        <p15:guide id="13" orient="horz" pos="77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xml"/><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chart" Target="../charts/chart1.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A490D-8D17-414E-B881-9623CBCC1E2F}"/>
              </a:ext>
            </a:extLst>
          </p:cNvPr>
          <p:cNvSpPr>
            <a:spLocks noGrp="1"/>
          </p:cNvSpPr>
          <p:nvPr>
            <p:ph type="ctrTitle"/>
          </p:nvPr>
        </p:nvSpPr>
        <p:spPr>
          <a:xfrm>
            <a:off x="377824" y="1228725"/>
            <a:ext cx="11436351" cy="2200275"/>
          </a:xfrm>
        </p:spPr>
        <p:txBody>
          <a:bodyPr/>
          <a:lstStyle/>
          <a:p>
            <a:r>
              <a:rPr lang="en-GB" dirty="0"/>
              <a:t>4. Data Transformation</a:t>
            </a:r>
          </a:p>
        </p:txBody>
      </p:sp>
    </p:spTree>
    <p:extLst>
      <p:ext uri="{BB962C8B-B14F-4D97-AF65-F5344CB8AC3E}">
        <p14:creationId xmlns:p14="http://schemas.microsoft.com/office/powerpoint/2010/main" val="128451652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F0B49-B492-C6E9-C6EF-268CC2AC2BB8}"/>
              </a:ext>
            </a:extLst>
          </p:cNvPr>
          <p:cNvSpPr>
            <a:spLocks noGrp="1"/>
          </p:cNvSpPr>
          <p:nvPr>
            <p:ph type="title"/>
          </p:nvPr>
        </p:nvSpPr>
        <p:spPr/>
        <p:txBody>
          <a:bodyPr/>
          <a:lstStyle/>
          <a:p>
            <a:r>
              <a:rPr lang="en-US" dirty="0"/>
              <a:t>Graphical Shapes</a:t>
            </a:r>
          </a:p>
        </p:txBody>
      </p:sp>
      <p:sp>
        <p:nvSpPr>
          <p:cNvPr id="3" name="Slide Number Placeholder 2">
            <a:extLst>
              <a:ext uri="{FF2B5EF4-FFF2-40B4-BE49-F238E27FC236}">
                <a16:creationId xmlns:a16="http://schemas.microsoft.com/office/drawing/2014/main" id="{13733400-4676-490F-C6CF-BFFA6237A7F3}"/>
              </a:ext>
            </a:extLst>
          </p:cNvPr>
          <p:cNvSpPr>
            <a:spLocks noGrp="1"/>
          </p:cNvSpPr>
          <p:nvPr>
            <p:ph type="sldNum" sz="quarter" idx="12"/>
          </p:nvPr>
        </p:nvSpPr>
        <p:spPr/>
        <p:txBody>
          <a:bodyPr/>
          <a:lstStyle/>
          <a:p>
            <a:fld id="{29CC380D-5F44-41E8-971E-CDD19ED6F8E3}" type="slidenum">
              <a:rPr lang="en-GB" smtClean="0"/>
              <a:t>10</a:t>
            </a:fld>
            <a:endParaRPr lang="en-GB"/>
          </a:p>
        </p:txBody>
      </p:sp>
      <p:graphicFrame>
        <p:nvGraphicFramePr>
          <p:cNvPr id="5" name="Chart 4">
            <a:extLst>
              <a:ext uri="{FF2B5EF4-FFF2-40B4-BE49-F238E27FC236}">
                <a16:creationId xmlns:a16="http://schemas.microsoft.com/office/drawing/2014/main" id="{E87C6C9F-338C-C5FC-0298-BD70FCD44170}"/>
              </a:ext>
            </a:extLst>
          </p:cNvPr>
          <p:cNvGraphicFramePr>
            <a:graphicFrameLocks/>
          </p:cNvGraphicFramePr>
          <p:nvPr>
            <p:extLst>
              <p:ext uri="{D42A27DB-BD31-4B8C-83A1-F6EECF244321}">
                <p14:modId xmlns:p14="http://schemas.microsoft.com/office/powerpoint/2010/main" val="383203066"/>
              </p:ext>
            </p:extLst>
          </p:nvPr>
        </p:nvGraphicFramePr>
        <p:xfrm>
          <a:off x="212871" y="2858923"/>
          <a:ext cx="6742111" cy="2533883"/>
        </p:xfrm>
        <a:graphic>
          <a:graphicData uri="http://schemas.openxmlformats.org/drawingml/2006/chart">
            <c:chart xmlns:c="http://schemas.openxmlformats.org/drawingml/2006/chart" xmlns:r="http://schemas.openxmlformats.org/officeDocument/2006/relationships" r:id="rId2"/>
          </a:graphicData>
        </a:graphic>
      </p:graphicFrame>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C556ECA1-9A0B-DBBD-4F14-B10EA6B7D342}"/>
                  </a:ext>
                </a:extLst>
              </p:cNvPr>
              <p:cNvSpPr txBox="1"/>
              <p:nvPr/>
            </p:nvSpPr>
            <p:spPr>
              <a:xfrm>
                <a:off x="377824" y="1773856"/>
                <a:ext cx="4027921" cy="4347125"/>
              </a:xfrm>
              <a:prstGeom prst="rect">
                <a:avLst/>
              </a:prstGeom>
              <a:noFill/>
            </p:spPr>
            <p:txBody>
              <a:bodyPr wrap="square" lIns="0" tIns="0" rIns="0" bIns="0" rtlCol="0">
                <a:noAutofit/>
              </a:bodyPr>
              <a:lstStyle/>
              <a:p>
                <a:pPr algn="l"/>
                <a:r>
                  <a:rPr lang="en-US" sz="1600" dirty="0"/>
                  <a:t>Equations – </a:t>
                </a:r>
              </a:p>
              <a:p>
                <a:pPr marL="285750" indent="-285750" algn="l">
                  <a:lnSpc>
                    <a:spcPct val="150000"/>
                  </a:lnSpc>
                  <a:buFont typeface="Arial" panose="020B0604020202020204" pitchFamily="34" charset="0"/>
                  <a:buChar char="•"/>
                </a:pPr>
                <a:r>
                  <a:rPr lang="en-US" sz="1600" dirty="0"/>
                  <a:t>Linear - </a:t>
                </a:r>
                <a14:m>
                  <m:oMath xmlns:m="http://schemas.openxmlformats.org/officeDocument/2006/math">
                    <m:r>
                      <a:rPr lang="en-US" sz="1600" b="0" i="1" smtClean="0">
                        <a:latin typeface="Cambria Math" panose="02040503050406030204" pitchFamily="18" charset="0"/>
                      </a:rPr>
                      <m:t>𝑦</m:t>
                    </m:r>
                    <m:r>
                      <a:rPr lang="en-US" sz="1600" b="0" i="1" smtClean="0">
                        <a:latin typeface="Cambria Math" panose="02040503050406030204" pitchFamily="18" charset="0"/>
                      </a:rPr>
                      <m:t>=</m:t>
                    </m:r>
                    <m:r>
                      <a:rPr lang="en-US" sz="1600" b="0" i="1" smtClean="0">
                        <a:latin typeface="Cambria Math" panose="02040503050406030204" pitchFamily="18" charset="0"/>
                      </a:rPr>
                      <m:t>𝑎𝑥</m:t>
                    </m:r>
                    <m:r>
                      <a:rPr lang="en-US" sz="1600" b="0" i="1" smtClean="0">
                        <a:latin typeface="Cambria Math" panose="02040503050406030204" pitchFamily="18" charset="0"/>
                      </a:rPr>
                      <m:t>+</m:t>
                    </m:r>
                    <m:r>
                      <a:rPr lang="en-US" sz="1600" b="0" i="1" smtClean="0">
                        <a:latin typeface="Cambria Math" panose="02040503050406030204" pitchFamily="18" charset="0"/>
                      </a:rPr>
                      <m:t>𝑐</m:t>
                    </m:r>
                  </m:oMath>
                </a14:m>
                <a:endParaRPr lang="en-US" sz="1600" b="0" dirty="0"/>
              </a:p>
              <a:p>
                <a:pPr marL="285750" indent="-285750" algn="l">
                  <a:lnSpc>
                    <a:spcPct val="150000"/>
                  </a:lnSpc>
                  <a:buFont typeface="Arial" panose="020B0604020202020204" pitchFamily="34" charset="0"/>
                  <a:buChar char="•"/>
                </a:pPr>
                <a:endParaRPr lang="en-US" sz="1600" dirty="0"/>
              </a:p>
            </p:txBody>
          </p:sp>
        </mc:Choice>
        <mc:Fallback xmlns="">
          <p:sp>
            <p:nvSpPr>
              <p:cNvPr id="6" name="TextBox 5">
                <a:extLst>
                  <a:ext uri="{FF2B5EF4-FFF2-40B4-BE49-F238E27FC236}">
                    <a16:creationId xmlns:a16="http://schemas.microsoft.com/office/drawing/2014/main" id="{C556ECA1-9A0B-DBBD-4F14-B10EA6B7D342}"/>
                  </a:ext>
                </a:extLst>
              </p:cNvPr>
              <p:cNvSpPr txBox="1">
                <a:spLocks noRot="1" noChangeAspect="1" noMove="1" noResize="1" noEditPoints="1" noAdjustHandles="1" noChangeArrowheads="1" noChangeShapeType="1" noTextEdit="1"/>
              </p:cNvSpPr>
              <p:nvPr/>
            </p:nvSpPr>
            <p:spPr>
              <a:xfrm>
                <a:off x="377824" y="1773856"/>
                <a:ext cx="4027921" cy="4347125"/>
              </a:xfrm>
              <a:prstGeom prst="rect">
                <a:avLst/>
              </a:prstGeom>
              <a:blipFill>
                <a:blip r:embed="rId3"/>
                <a:stretch>
                  <a:fillRect l="-3177" t="-1543"/>
                </a:stretch>
              </a:blipFill>
            </p:spPr>
            <p:txBody>
              <a:bodyPr/>
              <a:lstStyle/>
              <a:p>
                <a:r>
                  <a:rPr lang="en-US">
                    <a:noFill/>
                  </a:rPr>
                  <a:t> </a:t>
                </a:r>
              </a:p>
            </p:txBody>
          </p:sp>
        </mc:Fallback>
      </mc:AlternateContent>
      <p:pic>
        <p:nvPicPr>
          <p:cNvPr id="1030" name="Picture 6" descr="Spline Interpolation B-spline Polynomial, PNG, 780x532px, Spline, Area ...">
            <a:extLst>
              <a:ext uri="{FF2B5EF4-FFF2-40B4-BE49-F238E27FC236}">
                <a16:creationId xmlns:a16="http://schemas.microsoft.com/office/drawing/2014/main" id="{05E6E45C-DC76-BDB5-0A2E-F46452FE06D3}"/>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colorTemperature colorTemp="7200"/>
                    </a14:imgEffect>
                  </a14:imgLayer>
                </a14:imgProps>
              </a:ext>
              <a:ext uri="{28A0092B-C50C-407E-A947-70E740481C1C}">
                <a14:useLocalDpi xmlns:a14="http://schemas.microsoft.com/office/drawing/2010/main" val="0"/>
              </a:ext>
            </a:extLst>
          </a:blip>
          <a:srcRect/>
          <a:stretch>
            <a:fillRect/>
          </a:stretch>
        </p:blipFill>
        <p:spPr bwMode="auto">
          <a:xfrm>
            <a:off x="7407129" y="2858923"/>
            <a:ext cx="4572000" cy="2966225"/>
          </a:xfrm>
          <a:prstGeom prst="rect">
            <a:avLst/>
          </a:prstGeom>
          <a:solidFill>
            <a:schemeClr val="bg2">
              <a:lumMod val="40000"/>
              <a:lumOff val="60000"/>
            </a:schemeClr>
          </a:solidFill>
        </p:spPr>
      </p:pic>
      <p:sp>
        <p:nvSpPr>
          <p:cNvPr id="4" name="TextBox 3">
            <a:extLst>
              <a:ext uri="{FF2B5EF4-FFF2-40B4-BE49-F238E27FC236}">
                <a16:creationId xmlns:a16="http://schemas.microsoft.com/office/drawing/2014/main" id="{2AE68F3D-917B-D74E-D562-97DB14E620E1}"/>
              </a:ext>
            </a:extLst>
          </p:cNvPr>
          <p:cNvSpPr txBox="1"/>
          <p:nvPr/>
        </p:nvSpPr>
        <p:spPr>
          <a:xfrm>
            <a:off x="7407129" y="1593273"/>
            <a:ext cx="295998" cy="45719"/>
          </a:xfrm>
          <a:prstGeom prst="rect">
            <a:avLst/>
          </a:prstGeom>
          <a:noFill/>
        </p:spPr>
        <p:txBody>
          <a:bodyPr wrap="square" lIns="0" tIns="0" rIns="0" bIns="0" rtlCol="0">
            <a:noAutofit/>
          </a:bodyPr>
          <a:lstStyle/>
          <a:p>
            <a:pPr algn="l"/>
            <a:endParaRPr lang="en-US" sz="1200" dirty="0"/>
          </a:p>
        </p:txBody>
      </p:sp>
      <p:sp>
        <p:nvSpPr>
          <p:cNvPr id="7" name="TextBox 6">
            <a:extLst>
              <a:ext uri="{FF2B5EF4-FFF2-40B4-BE49-F238E27FC236}">
                <a16:creationId xmlns:a16="http://schemas.microsoft.com/office/drawing/2014/main" id="{D72DBC45-87D0-F4F1-C6E3-1AB5FEE232E1}"/>
              </a:ext>
            </a:extLst>
          </p:cNvPr>
          <p:cNvSpPr txBox="1"/>
          <p:nvPr/>
        </p:nvSpPr>
        <p:spPr>
          <a:xfrm>
            <a:off x="7703127" y="1721881"/>
            <a:ext cx="3546764" cy="564904"/>
          </a:xfrm>
          <a:prstGeom prst="rect">
            <a:avLst/>
          </a:prstGeom>
          <a:noFill/>
        </p:spPr>
        <p:txBody>
          <a:bodyPr wrap="square" lIns="0" tIns="0" rIns="0" bIns="0" rtlCol="0">
            <a:noAutofit/>
          </a:bodyPr>
          <a:lstStyle/>
          <a:p>
            <a:pPr algn="l"/>
            <a:r>
              <a:rPr lang="en-US" sz="1600" dirty="0"/>
              <a:t>Spline curve</a:t>
            </a:r>
          </a:p>
        </p:txBody>
      </p:sp>
    </p:spTree>
    <p:extLst>
      <p:ext uri="{BB962C8B-B14F-4D97-AF65-F5344CB8AC3E}">
        <p14:creationId xmlns:p14="http://schemas.microsoft.com/office/powerpoint/2010/main" val="31799661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F0B49-B492-C6E9-C6EF-268CC2AC2BB8}"/>
              </a:ext>
            </a:extLst>
          </p:cNvPr>
          <p:cNvSpPr>
            <a:spLocks noGrp="1"/>
          </p:cNvSpPr>
          <p:nvPr>
            <p:ph type="title"/>
          </p:nvPr>
        </p:nvSpPr>
        <p:spPr/>
        <p:txBody>
          <a:bodyPr/>
          <a:lstStyle/>
          <a:p>
            <a:r>
              <a:rPr lang="en-US" dirty="0"/>
              <a:t>Graphical Shapes</a:t>
            </a:r>
          </a:p>
        </p:txBody>
      </p:sp>
      <p:sp>
        <p:nvSpPr>
          <p:cNvPr id="3" name="Slide Number Placeholder 2">
            <a:extLst>
              <a:ext uri="{FF2B5EF4-FFF2-40B4-BE49-F238E27FC236}">
                <a16:creationId xmlns:a16="http://schemas.microsoft.com/office/drawing/2014/main" id="{13733400-4676-490F-C6CF-BFFA6237A7F3}"/>
              </a:ext>
            </a:extLst>
          </p:cNvPr>
          <p:cNvSpPr>
            <a:spLocks noGrp="1"/>
          </p:cNvSpPr>
          <p:nvPr>
            <p:ph type="sldNum" sz="quarter" idx="12"/>
          </p:nvPr>
        </p:nvSpPr>
        <p:spPr/>
        <p:txBody>
          <a:bodyPr/>
          <a:lstStyle/>
          <a:p>
            <a:fld id="{29CC380D-5F44-41E8-971E-CDD19ED6F8E3}" type="slidenum">
              <a:rPr lang="en-GB" smtClean="0"/>
              <a:t>11</a:t>
            </a:fld>
            <a:endParaRPr lang="en-GB"/>
          </a:p>
        </p:txBody>
      </p:sp>
      <p:graphicFrame>
        <p:nvGraphicFramePr>
          <p:cNvPr id="5" name="Chart 4">
            <a:extLst>
              <a:ext uri="{FF2B5EF4-FFF2-40B4-BE49-F238E27FC236}">
                <a16:creationId xmlns:a16="http://schemas.microsoft.com/office/drawing/2014/main" id="{E87C6C9F-338C-C5FC-0298-BD70FCD44170}"/>
              </a:ext>
            </a:extLst>
          </p:cNvPr>
          <p:cNvGraphicFramePr>
            <a:graphicFrameLocks/>
          </p:cNvGraphicFramePr>
          <p:nvPr>
            <p:extLst>
              <p:ext uri="{D42A27DB-BD31-4B8C-83A1-F6EECF244321}">
                <p14:modId xmlns:p14="http://schemas.microsoft.com/office/powerpoint/2010/main" val="1238240248"/>
              </p:ext>
            </p:extLst>
          </p:nvPr>
        </p:nvGraphicFramePr>
        <p:xfrm>
          <a:off x="4405745" y="1414662"/>
          <a:ext cx="7523144" cy="4889156"/>
        </p:xfrm>
        <a:graphic>
          <a:graphicData uri="http://schemas.openxmlformats.org/drawingml/2006/chart">
            <c:chart xmlns:c="http://schemas.openxmlformats.org/drawingml/2006/chart" xmlns:r="http://schemas.openxmlformats.org/officeDocument/2006/relationships" r:id="rId2"/>
          </a:graphicData>
        </a:graphic>
      </p:graphicFrame>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C556ECA1-9A0B-DBBD-4F14-B10EA6B7D342}"/>
                  </a:ext>
                </a:extLst>
              </p:cNvPr>
              <p:cNvSpPr txBox="1"/>
              <p:nvPr/>
            </p:nvSpPr>
            <p:spPr>
              <a:xfrm>
                <a:off x="377824" y="1783092"/>
                <a:ext cx="4027921" cy="4347125"/>
              </a:xfrm>
              <a:prstGeom prst="rect">
                <a:avLst/>
              </a:prstGeom>
              <a:noFill/>
            </p:spPr>
            <p:txBody>
              <a:bodyPr wrap="square" lIns="0" tIns="0" rIns="0" bIns="0" rtlCol="0">
                <a:noAutofit/>
              </a:bodyPr>
              <a:lstStyle/>
              <a:p>
                <a:pPr algn="l"/>
                <a:r>
                  <a:rPr lang="en-US" sz="1600" dirty="0"/>
                  <a:t>Equations – </a:t>
                </a:r>
              </a:p>
              <a:p>
                <a:pPr marL="285750" indent="-285750" algn="l">
                  <a:lnSpc>
                    <a:spcPct val="150000"/>
                  </a:lnSpc>
                  <a:buFont typeface="Arial" panose="020B0604020202020204" pitchFamily="34" charset="0"/>
                  <a:buChar char="•"/>
                </a:pPr>
                <a:r>
                  <a:rPr lang="en-US" sz="1600" dirty="0"/>
                  <a:t>Log Curve - </a:t>
                </a:r>
                <a14:m>
                  <m:oMath xmlns:m="http://schemas.openxmlformats.org/officeDocument/2006/math">
                    <m:r>
                      <a:rPr lang="en-US" sz="1600" b="0" i="1" smtClean="0">
                        <a:latin typeface="Cambria Math" panose="02040503050406030204" pitchFamily="18" charset="0"/>
                      </a:rPr>
                      <m:t>𝑦</m:t>
                    </m:r>
                    <m:r>
                      <a:rPr lang="en-US" sz="1600" b="0" i="1" smtClean="0">
                        <a:latin typeface="Cambria Math" panose="02040503050406030204" pitchFamily="18" charset="0"/>
                      </a:rPr>
                      <m:t>=</m:t>
                    </m:r>
                    <m:r>
                      <a:rPr lang="en-US" sz="1600" b="0" i="1" smtClean="0">
                        <a:latin typeface="Cambria Math" panose="02040503050406030204" pitchFamily="18" charset="0"/>
                      </a:rPr>
                      <m:t>𝑎</m:t>
                    </m:r>
                    <m:r>
                      <a:rPr lang="en-US" sz="1600" b="0" i="1" smtClean="0">
                        <a:latin typeface="Cambria Math" panose="02040503050406030204" pitchFamily="18" charset="0"/>
                      </a:rPr>
                      <m:t>∗</m:t>
                    </m:r>
                    <m:func>
                      <m:funcPr>
                        <m:ctrlPr>
                          <a:rPr lang="en-US" sz="1600" b="0" i="1" smtClean="0">
                            <a:latin typeface="Cambria Math" panose="02040503050406030204" pitchFamily="18" charset="0"/>
                          </a:rPr>
                        </m:ctrlPr>
                      </m:funcPr>
                      <m:fName>
                        <m:r>
                          <m:rPr>
                            <m:sty m:val="p"/>
                          </m:rPr>
                          <a:rPr lang="en-US" sz="1600" b="0" i="0" smtClean="0">
                            <a:latin typeface="Cambria Math" panose="02040503050406030204" pitchFamily="18" charset="0"/>
                          </a:rPr>
                          <m:t>ln</m:t>
                        </m:r>
                      </m:fName>
                      <m:e>
                        <m:d>
                          <m:dPr>
                            <m:ctrlPr>
                              <a:rPr lang="en-US" sz="1600" b="0" i="1" smtClean="0">
                                <a:latin typeface="Cambria Math" panose="02040503050406030204" pitchFamily="18" charset="0"/>
                              </a:rPr>
                            </m:ctrlPr>
                          </m:dPr>
                          <m:e>
                            <m:r>
                              <a:rPr lang="en-US" sz="1600" b="0" i="1" smtClean="0">
                                <a:latin typeface="Cambria Math" panose="02040503050406030204" pitchFamily="18" charset="0"/>
                              </a:rPr>
                              <m:t>1+</m:t>
                            </m:r>
                            <m:r>
                              <a:rPr lang="en-US" sz="1600" b="0" i="1" smtClean="0">
                                <a:latin typeface="Cambria Math" panose="02040503050406030204" pitchFamily="18" charset="0"/>
                              </a:rPr>
                              <m:t>𝑥</m:t>
                            </m:r>
                          </m:e>
                        </m:d>
                      </m:e>
                    </m:func>
                  </m:oMath>
                </a14:m>
                <a:endParaRPr lang="en-US" sz="1600" b="0" dirty="0"/>
              </a:p>
              <a:p>
                <a:pPr marL="285750" indent="-285750" algn="l">
                  <a:lnSpc>
                    <a:spcPct val="150000"/>
                  </a:lnSpc>
                  <a:buFont typeface="Arial" panose="020B0604020202020204" pitchFamily="34" charset="0"/>
                  <a:buChar char="•"/>
                </a:pPr>
                <a:r>
                  <a:rPr lang="en-US" sz="1600" dirty="0"/>
                  <a:t>Negative Exp - </a:t>
                </a:r>
                <a14:m>
                  <m:oMath xmlns:m="http://schemas.openxmlformats.org/officeDocument/2006/math">
                    <m:r>
                      <a:rPr lang="en-US" sz="1600" b="0" i="1" smtClean="0">
                        <a:latin typeface="Cambria Math" panose="02040503050406030204" pitchFamily="18" charset="0"/>
                      </a:rPr>
                      <m:t>𝑦</m:t>
                    </m:r>
                    <m:r>
                      <a:rPr lang="en-US" sz="1600" b="0" i="1" smtClean="0">
                        <a:latin typeface="Cambria Math" panose="02040503050406030204" pitchFamily="18" charset="0"/>
                      </a:rPr>
                      <m:t>=</m:t>
                    </m:r>
                    <m:r>
                      <a:rPr lang="en-US" sz="1600" b="0" i="1" smtClean="0">
                        <a:latin typeface="Cambria Math" panose="02040503050406030204" pitchFamily="18" charset="0"/>
                      </a:rPr>
                      <m:t>𝑎</m:t>
                    </m:r>
                    <m:r>
                      <a:rPr lang="en-US" sz="1600" b="0" i="1" smtClean="0">
                        <a:latin typeface="Cambria Math" panose="02040503050406030204" pitchFamily="18" charset="0"/>
                      </a:rPr>
                      <m:t>∗(1−</m:t>
                    </m:r>
                    <m:r>
                      <m:rPr>
                        <m:sty m:val="p"/>
                      </m:rPr>
                      <a:rPr lang="en-US" sz="1600" b="0" i="0" smtClean="0">
                        <a:latin typeface="Cambria Math" panose="02040503050406030204" pitchFamily="18" charset="0"/>
                      </a:rPr>
                      <m:t>exp</m:t>
                    </m:r>
                    <m:r>
                      <a:rPr lang="en-US" sz="1600" b="0" i="1" smtClean="0">
                        <a:latin typeface="Cambria Math" panose="02040503050406030204" pitchFamily="18" charset="0"/>
                      </a:rPr>
                      <m:t>⁡(−</m:t>
                    </m:r>
                    <m:r>
                      <a:rPr lang="en-US" sz="1600" b="0" i="1" smtClean="0">
                        <a:latin typeface="Cambria Math" panose="02040503050406030204" pitchFamily="18" charset="0"/>
                      </a:rPr>
                      <m:t>𝑐</m:t>
                    </m:r>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m:t>
                    </m:r>
                  </m:oMath>
                </a14:m>
                <a:r>
                  <a:rPr lang="en-US" sz="1600" dirty="0"/>
                  <a:t> </a:t>
                </a:r>
              </a:p>
              <a:p>
                <a:pPr marL="285750" indent="-285750" algn="l">
                  <a:lnSpc>
                    <a:spcPct val="150000"/>
                  </a:lnSpc>
                  <a:buFont typeface="Arial" panose="020B0604020202020204" pitchFamily="34" charset="0"/>
                  <a:buChar char="•"/>
                </a:pPr>
                <a:r>
                  <a:rPr lang="en-US" sz="1600" dirty="0"/>
                  <a:t>S Curve - </a:t>
                </a:r>
                <a14:m>
                  <m:oMath xmlns:m="http://schemas.openxmlformats.org/officeDocument/2006/math">
                    <m:r>
                      <a:rPr lang="en-US" sz="1600" b="0" i="1" smtClean="0">
                        <a:latin typeface="Cambria Math" panose="02040503050406030204" pitchFamily="18" charset="0"/>
                      </a:rPr>
                      <m:t>1/(1+</m:t>
                    </m:r>
                    <m:func>
                      <m:funcPr>
                        <m:ctrlPr>
                          <a:rPr lang="en-US" sz="1600" b="0" i="1" smtClean="0">
                            <a:latin typeface="Cambria Math" panose="02040503050406030204" pitchFamily="18" charset="0"/>
                          </a:rPr>
                        </m:ctrlPr>
                      </m:funcPr>
                      <m:fName>
                        <m:r>
                          <m:rPr>
                            <m:sty m:val="p"/>
                          </m:rPr>
                          <a:rPr lang="en-US" sz="1600" b="0" i="0" smtClean="0">
                            <a:latin typeface="Cambria Math" panose="02040503050406030204" pitchFamily="18" charset="0"/>
                          </a:rPr>
                          <m:t>exp</m:t>
                        </m:r>
                      </m:fName>
                      <m:e>
                        <m:d>
                          <m:dPr>
                            <m:ctrlPr>
                              <a:rPr lang="en-US" sz="1600" b="0" i="1" smtClean="0">
                                <a:latin typeface="Cambria Math" panose="02040503050406030204" pitchFamily="18" charset="0"/>
                              </a:rPr>
                            </m:ctrlPr>
                          </m:dPr>
                          <m:e>
                            <m:r>
                              <a:rPr lang="en-US" sz="1600" b="0" i="1" smtClean="0">
                                <a:latin typeface="Cambria Math" panose="02040503050406030204" pitchFamily="18" charset="0"/>
                              </a:rPr>
                              <m:t>−</m:t>
                            </m:r>
                            <m:r>
                              <a:rPr lang="en-US" sz="1600" b="0" i="1" smtClean="0">
                                <a:latin typeface="Cambria Math" panose="02040503050406030204" pitchFamily="18" charset="0"/>
                              </a:rPr>
                              <m:t>𝑥</m:t>
                            </m:r>
                          </m:e>
                        </m:d>
                      </m:e>
                    </m:func>
                    <m:r>
                      <a:rPr lang="en-US" sz="1600" b="0" i="1" smtClean="0">
                        <a:latin typeface="Cambria Math" panose="02040503050406030204" pitchFamily="18" charset="0"/>
                      </a:rPr>
                      <m:t>)</m:t>
                    </m:r>
                  </m:oMath>
                </a14:m>
                <a:endParaRPr lang="en-US" sz="1600" dirty="0"/>
              </a:p>
              <a:p>
                <a:pPr marL="285750" indent="-285750" algn="l">
                  <a:lnSpc>
                    <a:spcPct val="150000"/>
                  </a:lnSpc>
                  <a:buFont typeface="Arial" panose="020B0604020202020204" pitchFamily="34" charset="0"/>
                  <a:buChar char="•"/>
                </a:pPr>
                <a:endParaRPr lang="en-US" sz="1600" b="0" dirty="0"/>
              </a:p>
              <a:p>
                <a:pPr marL="285750" indent="-285750" algn="l">
                  <a:lnSpc>
                    <a:spcPct val="150000"/>
                  </a:lnSpc>
                  <a:buFont typeface="Arial" panose="020B0604020202020204" pitchFamily="34" charset="0"/>
                  <a:buChar char="•"/>
                </a:pPr>
                <a:endParaRPr lang="en-US" sz="1600" dirty="0"/>
              </a:p>
            </p:txBody>
          </p:sp>
        </mc:Choice>
        <mc:Fallback xmlns="">
          <p:sp>
            <p:nvSpPr>
              <p:cNvPr id="6" name="TextBox 5">
                <a:extLst>
                  <a:ext uri="{FF2B5EF4-FFF2-40B4-BE49-F238E27FC236}">
                    <a16:creationId xmlns:a16="http://schemas.microsoft.com/office/drawing/2014/main" id="{C556ECA1-9A0B-DBBD-4F14-B10EA6B7D342}"/>
                  </a:ext>
                </a:extLst>
              </p:cNvPr>
              <p:cNvSpPr txBox="1">
                <a:spLocks noRot="1" noChangeAspect="1" noMove="1" noResize="1" noEditPoints="1" noAdjustHandles="1" noChangeArrowheads="1" noChangeShapeType="1" noTextEdit="1"/>
              </p:cNvSpPr>
              <p:nvPr/>
            </p:nvSpPr>
            <p:spPr>
              <a:xfrm>
                <a:off x="377824" y="1783092"/>
                <a:ext cx="4027921" cy="4347125"/>
              </a:xfrm>
              <a:prstGeom prst="rect">
                <a:avLst/>
              </a:prstGeom>
              <a:blipFill>
                <a:blip r:embed="rId3"/>
                <a:stretch>
                  <a:fillRect l="-3177" t="-1543"/>
                </a:stretch>
              </a:blipFill>
            </p:spPr>
            <p:txBody>
              <a:bodyPr/>
              <a:lstStyle/>
              <a:p>
                <a:r>
                  <a:rPr lang="en-US">
                    <a:noFill/>
                  </a:rPr>
                  <a:t> </a:t>
                </a:r>
              </a:p>
            </p:txBody>
          </p:sp>
        </mc:Fallback>
      </mc:AlternateContent>
    </p:spTree>
    <p:extLst>
      <p:ext uri="{BB962C8B-B14F-4D97-AF65-F5344CB8AC3E}">
        <p14:creationId xmlns:p14="http://schemas.microsoft.com/office/powerpoint/2010/main" val="260444065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F0B49-B492-C6E9-C6EF-268CC2AC2BB8}"/>
              </a:ext>
            </a:extLst>
          </p:cNvPr>
          <p:cNvSpPr>
            <a:spLocks noGrp="1"/>
          </p:cNvSpPr>
          <p:nvPr>
            <p:ph type="title"/>
          </p:nvPr>
        </p:nvSpPr>
        <p:spPr/>
        <p:txBody>
          <a:bodyPr/>
          <a:lstStyle/>
          <a:p>
            <a:r>
              <a:rPr lang="en-US" dirty="0"/>
              <a:t>Graphical Shapes</a:t>
            </a:r>
          </a:p>
        </p:txBody>
      </p:sp>
      <p:sp>
        <p:nvSpPr>
          <p:cNvPr id="3" name="Slide Number Placeholder 2">
            <a:extLst>
              <a:ext uri="{FF2B5EF4-FFF2-40B4-BE49-F238E27FC236}">
                <a16:creationId xmlns:a16="http://schemas.microsoft.com/office/drawing/2014/main" id="{13733400-4676-490F-C6CF-BFFA6237A7F3}"/>
              </a:ext>
            </a:extLst>
          </p:cNvPr>
          <p:cNvSpPr>
            <a:spLocks noGrp="1"/>
          </p:cNvSpPr>
          <p:nvPr>
            <p:ph type="sldNum" sz="quarter" idx="12"/>
          </p:nvPr>
        </p:nvSpPr>
        <p:spPr/>
        <p:txBody>
          <a:bodyPr/>
          <a:lstStyle/>
          <a:p>
            <a:fld id="{29CC380D-5F44-41E8-971E-CDD19ED6F8E3}" type="slidenum">
              <a:rPr lang="en-GB" smtClean="0"/>
              <a:t>12</a:t>
            </a:fld>
            <a:endParaRPr lang="en-GB"/>
          </a:p>
        </p:txBody>
      </p:sp>
      <p:graphicFrame>
        <p:nvGraphicFramePr>
          <p:cNvPr id="5" name="Chart 4">
            <a:extLst>
              <a:ext uri="{FF2B5EF4-FFF2-40B4-BE49-F238E27FC236}">
                <a16:creationId xmlns:a16="http://schemas.microsoft.com/office/drawing/2014/main" id="{E87C6C9F-338C-C5FC-0298-BD70FCD44170}"/>
              </a:ext>
            </a:extLst>
          </p:cNvPr>
          <p:cNvGraphicFramePr>
            <a:graphicFrameLocks/>
          </p:cNvGraphicFramePr>
          <p:nvPr>
            <p:extLst>
              <p:ext uri="{D42A27DB-BD31-4B8C-83A1-F6EECF244321}">
                <p14:modId xmlns:p14="http://schemas.microsoft.com/office/powerpoint/2010/main" val="4283638722"/>
              </p:ext>
            </p:extLst>
          </p:nvPr>
        </p:nvGraphicFramePr>
        <p:xfrm>
          <a:off x="4405745" y="1414662"/>
          <a:ext cx="7523144" cy="4875302"/>
        </p:xfrm>
        <a:graphic>
          <a:graphicData uri="http://schemas.openxmlformats.org/drawingml/2006/chart">
            <c:chart xmlns:c="http://schemas.openxmlformats.org/drawingml/2006/chart" xmlns:r="http://schemas.openxmlformats.org/officeDocument/2006/relationships" r:id="rId2"/>
          </a:graphicData>
        </a:graphic>
      </p:graphicFrame>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C556ECA1-9A0B-DBBD-4F14-B10EA6B7D342}"/>
                  </a:ext>
                </a:extLst>
              </p:cNvPr>
              <p:cNvSpPr txBox="1"/>
              <p:nvPr/>
            </p:nvSpPr>
            <p:spPr>
              <a:xfrm>
                <a:off x="377824" y="1773856"/>
                <a:ext cx="4027921" cy="4347125"/>
              </a:xfrm>
              <a:prstGeom prst="rect">
                <a:avLst/>
              </a:prstGeom>
              <a:noFill/>
            </p:spPr>
            <p:txBody>
              <a:bodyPr wrap="square" lIns="0" tIns="0" rIns="0" bIns="0" rtlCol="0">
                <a:noAutofit/>
              </a:bodyPr>
              <a:lstStyle/>
              <a:p>
                <a:pPr algn="l"/>
                <a:r>
                  <a:rPr lang="en-US" sz="1600" dirty="0"/>
                  <a:t>Equations – </a:t>
                </a:r>
              </a:p>
              <a:p>
                <a:pPr marL="285750" indent="-285750" algn="l">
                  <a:lnSpc>
                    <a:spcPct val="150000"/>
                  </a:lnSpc>
                  <a:buFont typeface="Arial" panose="020B0604020202020204" pitchFamily="34" charset="0"/>
                  <a:buChar char="•"/>
                </a:pPr>
                <a:r>
                  <a:rPr lang="en-US" sz="1600" dirty="0"/>
                  <a:t>Polynomial (degree 2) - </a:t>
                </a:r>
                <a14:m>
                  <m:oMath xmlns:m="http://schemas.openxmlformats.org/officeDocument/2006/math">
                    <m:r>
                      <a:rPr lang="en-US" sz="1600" b="0" i="1" smtClean="0">
                        <a:latin typeface="Cambria Math" panose="02040503050406030204" pitchFamily="18" charset="0"/>
                      </a:rPr>
                      <m:t>𝑎𝑥</m:t>
                    </m:r>
                    <m:r>
                      <a:rPr lang="en-US" sz="1600" b="0" i="1" smtClean="0">
                        <a:latin typeface="Cambria Math" panose="02040503050406030204" pitchFamily="18" charset="0"/>
                      </a:rPr>
                      <m:t>+</m:t>
                    </m:r>
                    <m:r>
                      <a:rPr lang="en-US" sz="1600" b="0" i="1" smtClean="0">
                        <a:latin typeface="Cambria Math" panose="02040503050406030204" pitchFamily="18" charset="0"/>
                      </a:rPr>
                      <m:t>𝑏</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𝑥</m:t>
                        </m:r>
                      </m:e>
                      <m:sup>
                        <m:r>
                          <a:rPr lang="en-US" sz="1600" b="0" i="1" smtClean="0">
                            <a:latin typeface="Cambria Math" panose="02040503050406030204" pitchFamily="18" charset="0"/>
                          </a:rPr>
                          <m:t>2</m:t>
                        </m:r>
                      </m:sup>
                    </m:sSup>
                  </m:oMath>
                </a14:m>
                <a:endParaRPr lang="en-US" sz="1600" b="0" dirty="0"/>
              </a:p>
              <a:p>
                <a:pPr marL="285750" indent="-285750">
                  <a:lnSpc>
                    <a:spcPct val="150000"/>
                  </a:lnSpc>
                  <a:buFont typeface="Arial" panose="020B0604020202020204" pitchFamily="34" charset="0"/>
                  <a:buChar char="•"/>
                </a:pPr>
                <a:r>
                  <a:rPr lang="en-US" sz="1600" dirty="0"/>
                  <a:t>Polynomial (degree 3) - </a:t>
                </a:r>
                <a14:m>
                  <m:oMath xmlns:m="http://schemas.openxmlformats.org/officeDocument/2006/math">
                    <m:r>
                      <a:rPr lang="en-US" sz="1600" b="0" i="1" smtClean="0">
                        <a:latin typeface="Cambria Math" panose="02040503050406030204" pitchFamily="18" charset="0"/>
                      </a:rPr>
                      <m:t>𝑎𝑥</m:t>
                    </m:r>
                    <m:r>
                      <a:rPr lang="en-US" sz="1600" b="0" i="1" smtClean="0">
                        <a:latin typeface="Cambria Math" panose="02040503050406030204" pitchFamily="18" charset="0"/>
                      </a:rPr>
                      <m:t>+</m:t>
                    </m:r>
                    <m:r>
                      <a:rPr lang="en-US" sz="1600" b="0" i="1" smtClean="0">
                        <a:latin typeface="Cambria Math" panose="02040503050406030204" pitchFamily="18" charset="0"/>
                      </a:rPr>
                      <m:t>𝑏</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𝑥</m:t>
                        </m:r>
                      </m:e>
                      <m:sup>
                        <m:r>
                          <a:rPr lang="en-US" sz="1600" b="0" i="1" smtClean="0">
                            <a:latin typeface="Cambria Math" panose="02040503050406030204" pitchFamily="18" charset="0"/>
                          </a:rPr>
                          <m:t>2</m:t>
                        </m:r>
                      </m:sup>
                    </m:sSup>
                    <m:r>
                      <a:rPr lang="en-US" sz="1600" b="0" i="1" smtClean="0">
                        <a:latin typeface="Cambria Math" panose="02040503050406030204" pitchFamily="18" charset="0"/>
                      </a:rPr>
                      <m:t>+</m:t>
                    </m:r>
                    <m:r>
                      <a:rPr lang="en-US" sz="1600" b="0" i="1" smtClean="0">
                        <a:latin typeface="Cambria Math" panose="02040503050406030204" pitchFamily="18" charset="0"/>
                      </a:rPr>
                      <m:t>𝑐</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𝑥</m:t>
                        </m:r>
                      </m:e>
                      <m:sup>
                        <m:r>
                          <a:rPr lang="en-US" sz="1600" b="0" i="1" smtClean="0">
                            <a:latin typeface="Cambria Math" panose="02040503050406030204" pitchFamily="18" charset="0"/>
                          </a:rPr>
                          <m:t>3</m:t>
                        </m:r>
                      </m:sup>
                    </m:sSup>
                  </m:oMath>
                </a14:m>
                <a:endParaRPr lang="en-US" sz="1600" b="0" dirty="0"/>
              </a:p>
              <a:p>
                <a:pPr marL="285750" indent="-285750">
                  <a:lnSpc>
                    <a:spcPct val="150000"/>
                  </a:lnSpc>
                  <a:buFont typeface="Arial" panose="020B0604020202020204" pitchFamily="34" charset="0"/>
                  <a:buChar char="•"/>
                </a:pPr>
                <a:r>
                  <a:rPr lang="en-US" sz="1600" b="0" dirty="0"/>
                  <a:t>Square - </a:t>
                </a:r>
                <a14:m>
                  <m:oMath xmlns:m="http://schemas.openxmlformats.org/officeDocument/2006/math">
                    <m:r>
                      <a:rPr lang="en-US" sz="1600" b="0" i="1" smtClean="0">
                        <a:latin typeface="Cambria Math" panose="02040503050406030204" pitchFamily="18" charset="0"/>
                      </a:rPr>
                      <m:t>𝑦</m:t>
                    </m:r>
                    <m:r>
                      <a:rPr lang="en-US" sz="1600" b="0" i="1" smtClean="0">
                        <a:latin typeface="Cambria Math" panose="02040503050406030204" pitchFamily="18" charset="0"/>
                      </a:rPr>
                      <m:t>=</m:t>
                    </m:r>
                    <m:r>
                      <a:rPr lang="en-US" sz="1600" b="0" i="1" smtClean="0">
                        <a:latin typeface="Cambria Math" panose="02040503050406030204" pitchFamily="18" charset="0"/>
                      </a:rPr>
                      <m:t>𝑎𝑥</m:t>
                    </m:r>
                    <m:r>
                      <a:rPr lang="en-US" sz="1600" b="0" i="1" smtClean="0">
                        <a:latin typeface="Cambria Math" panose="02040503050406030204" pitchFamily="18" charset="0"/>
                      </a:rPr>
                      <m:t>^2</m:t>
                    </m:r>
                  </m:oMath>
                </a14:m>
                <a:endParaRPr lang="en-US" sz="1600" b="0" dirty="0"/>
              </a:p>
              <a:p>
                <a:pPr marL="285750" indent="-285750" algn="l">
                  <a:lnSpc>
                    <a:spcPct val="150000"/>
                  </a:lnSpc>
                  <a:buFont typeface="Arial" panose="020B0604020202020204" pitchFamily="34" charset="0"/>
                  <a:buChar char="•"/>
                </a:pPr>
                <a:endParaRPr lang="en-US" sz="1600" b="0" dirty="0"/>
              </a:p>
              <a:p>
                <a:pPr marL="285750" indent="-285750" algn="l">
                  <a:lnSpc>
                    <a:spcPct val="150000"/>
                  </a:lnSpc>
                  <a:buFont typeface="Arial" panose="020B0604020202020204" pitchFamily="34" charset="0"/>
                  <a:buChar char="•"/>
                </a:pPr>
                <a:endParaRPr lang="en-US" sz="1600" dirty="0"/>
              </a:p>
            </p:txBody>
          </p:sp>
        </mc:Choice>
        <mc:Fallback xmlns="">
          <p:sp>
            <p:nvSpPr>
              <p:cNvPr id="6" name="TextBox 5">
                <a:extLst>
                  <a:ext uri="{FF2B5EF4-FFF2-40B4-BE49-F238E27FC236}">
                    <a16:creationId xmlns:a16="http://schemas.microsoft.com/office/drawing/2014/main" id="{C556ECA1-9A0B-DBBD-4F14-B10EA6B7D342}"/>
                  </a:ext>
                </a:extLst>
              </p:cNvPr>
              <p:cNvSpPr txBox="1">
                <a:spLocks noRot="1" noChangeAspect="1" noMove="1" noResize="1" noEditPoints="1" noAdjustHandles="1" noChangeArrowheads="1" noChangeShapeType="1" noTextEdit="1"/>
              </p:cNvSpPr>
              <p:nvPr/>
            </p:nvSpPr>
            <p:spPr>
              <a:xfrm>
                <a:off x="377824" y="1773856"/>
                <a:ext cx="4027921" cy="4347125"/>
              </a:xfrm>
              <a:prstGeom prst="rect">
                <a:avLst/>
              </a:prstGeom>
              <a:blipFill>
                <a:blip r:embed="rId3"/>
                <a:stretch>
                  <a:fillRect l="-3177" t="-1543"/>
                </a:stretch>
              </a:blipFill>
            </p:spPr>
            <p:txBody>
              <a:bodyPr/>
              <a:lstStyle/>
              <a:p>
                <a:r>
                  <a:rPr lang="en-US">
                    <a:noFill/>
                  </a:rPr>
                  <a:t> </a:t>
                </a:r>
              </a:p>
            </p:txBody>
          </p:sp>
        </mc:Fallback>
      </mc:AlternateContent>
    </p:spTree>
    <p:extLst>
      <p:ext uri="{BB962C8B-B14F-4D97-AF65-F5344CB8AC3E}">
        <p14:creationId xmlns:p14="http://schemas.microsoft.com/office/powerpoint/2010/main" val="8284417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F0B49-B492-C6E9-C6EF-268CC2AC2BB8}"/>
              </a:ext>
            </a:extLst>
          </p:cNvPr>
          <p:cNvSpPr>
            <a:spLocks noGrp="1"/>
          </p:cNvSpPr>
          <p:nvPr>
            <p:ph type="title"/>
          </p:nvPr>
        </p:nvSpPr>
        <p:spPr/>
        <p:txBody>
          <a:bodyPr/>
          <a:lstStyle/>
          <a:p>
            <a:r>
              <a:rPr lang="en-US" dirty="0"/>
              <a:t>Root Transformation</a:t>
            </a:r>
          </a:p>
        </p:txBody>
      </p:sp>
      <p:sp>
        <p:nvSpPr>
          <p:cNvPr id="3" name="Slide Number Placeholder 2">
            <a:extLst>
              <a:ext uri="{FF2B5EF4-FFF2-40B4-BE49-F238E27FC236}">
                <a16:creationId xmlns:a16="http://schemas.microsoft.com/office/drawing/2014/main" id="{13733400-4676-490F-C6CF-BFFA6237A7F3}"/>
              </a:ext>
            </a:extLst>
          </p:cNvPr>
          <p:cNvSpPr>
            <a:spLocks noGrp="1"/>
          </p:cNvSpPr>
          <p:nvPr>
            <p:ph type="sldNum" sz="quarter" idx="12"/>
          </p:nvPr>
        </p:nvSpPr>
        <p:spPr/>
        <p:txBody>
          <a:bodyPr/>
          <a:lstStyle/>
          <a:p>
            <a:fld id="{29CC380D-5F44-41E8-971E-CDD19ED6F8E3}" type="slidenum">
              <a:rPr lang="en-GB" smtClean="0"/>
              <a:t>13</a:t>
            </a:fld>
            <a:endParaRPr lang="en-GB"/>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C556ECA1-9A0B-DBBD-4F14-B10EA6B7D342}"/>
                  </a:ext>
                </a:extLst>
              </p:cNvPr>
              <p:cNvSpPr txBox="1"/>
              <p:nvPr/>
            </p:nvSpPr>
            <p:spPr>
              <a:xfrm>
                <a:off x="918150" y="5842521"/>
                <a:ext cx="6701850" cy="569154"/>
              </a:xfrm>
              <a:prstGeom prst="rect">
                <a:avLst/>
              </a:prstGeom>
              <a:noFill/>
            </p:spPr>
            <p:txBody>
              <a:bodyPr wrap="square" lIns="0" tIns="0" rIns="0" bIns="0" rtlCol="0">
                <a:noAutofit/>
              </a:bodyPr>
              <a:lstStyle/>
              <a:p>
                <a:pPr algn="l"/>
                <a:r>
                  <a:rPr lang="en-US" sz="1600" dirty="0"/>
                  <a:t>Equations – </a:t>
                </a:r>
              </a:p>
              <a:p>
                <a:pPr algn="l">
                  <a:lnSpc>
                    <a:spcPct val="150000"/>
                  </a:lnSpc>
                </a:pPr>
                <a:r>
                  <a:rPr lang="en-US" sz="1600" dirty="0"/>
                  <a:t>Power Curve - </a:t>
                </a:r>
                <a14:m>
                  <m:oMath xmlns:m="http://schemas.openxmlformats.org/officeDocument/2006/math">
                    <m:r>
                      <a:rPr lang="en-US" sz="1600" b="0" i="1" smtClean="0">
                        <a:latin typeface="Cambria Math" panose="02040503050406030204" pitchFamily="18" charset="0"/>
                      </a:rPr>
                      <m:t>𝑦</m:t>
                    </m:r>
                    <m:r>
                      <a:rPr lang="en-US" sz="1600" b="0" i="1" smtClean="0">
                        <a:latin typeface="Cambria Math" panose="02040503050406030204" pitchFamily="18" charset="0"/>
                      </a:rPr>
                      <m:t>=</m:t>
                    </m:r>
                    <m:r>
                      <a:rPr lang="en-US" sz="1600" b="0" i="1" smtClean="0">
                        <a:latin typeface="Cambria Math" panose="02040503050406030204" pitchFamily="18" charset="0"/>
                      </a:rPr>
                      <m:t>𝑎</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𝑥</m:t>
                        </m:r>
                      </m:e>
                      <m:sup>
                        <m:r>
                          <a:rPr lang="en-US" sz="1600" b="0" i="1" smtClean="0">
                            <a:latin typeface="Cambria Math" panose="02040503050406030204" pitchFamily="18" charset="0"/>
                          </a:rPr>
                          <m:t>𝑏</m:t>
                        </m:r>
                      </m:sup>
                    </m:sSup>
                    <m:r>
                      <a:rPr lang="en-US" sz="1600" b="0" i="1" smtClean="0">
                        <a:latin typeface="Cambria Math" panose="02040503050406030204" pitchFamily="18" charset="0"/>
                      </a:rPr>
                      <m:t> </m:t>
                    </m:r>
                  </m:oMath>
                </a14:m>
                <a:r>
                  <a:rPr lang="en-US" sz="1100" b="0" i="1" dirty="0"/>
                  <a:t>where b varies from 0.1 to 0.9</a:t>
                </a:r>
              </a:p>
              <a:p>
                <a:pPr marL="285750" indent="-285750" algn="l">
                  <a:lnSpc>
                    <a:spcPct val="150000"/>
                  </a:lnSpc>
                  <a:buFont typeface="Arial" panose="020B0604020202020204" pitchFamily="34" charset="0"/>
                  <a:buChar char="•"/>
                </a:pPr>
                <a:endParaRPr lang="en-US" sz="1600" b="0" dirty="0"/>
              </a:p>
              <a:p>
                <a:pPr marL="285750" indent="-285750" algn="l">
                  <a:lnSpc>
                    <a:spcPct val="150000"/>
                  </a:lnSpc>
                  <a:buFont typeface="Arial" panose="020B0604020202020204" pitchFamily="34" charset="0"/>
                  <a:buChar char="•"/>
                </a:pPr>
                <a:endParaRPr lang="en-US" sz="1600" b="0" dirty="0"/>
              </a:p>
              <a:p>
                <a:pPr marL="285750" indent="-285750" algn="l">
                  <a:lnSpc>
                    <a:spcPct val="150000"/>
                  </a:lnSpc>
                  <a:buFont typeface="Arial" panose="020B0604020202020204" pitchFamily="34" charset="0"/>
                  <a:buChar char="•"/>
                </a:pPr>
                <a:endParaRPr lang="en-US" sz="1600" dirty="0"/>
              </a:p>
            </p:txBody>
          </p:sp>
        </mc:Choice>
        <mc:Fallback xmlns="">
          <p:sp>
            <p:nvSpPr>
              <p:cNvPr id="6" name="TextBox 5">
                <a:extLst>
                  <a:ext uri="{FF2B5EF4-FFF2-40B4-BE49-F238E27FC236}">
                    <a16:creationId xmlns:a16="http://schemas.microsoft.com/office/drawing/2014/main" id="{C556ECA1-9A0B-DBBD-4F14-B10EA6B7D342}"/>
                  </a:ext>
                </a:extLst>
              </p:cNvPr>
              <p:cNvSpPr txBox="1">
                <a:spLocks noRot="1" noChangeAspect="1" noMove="1" noResize="1" noEditPoints="1" noAdjustHandles="1" noChangeArrowheads="1" noChangeShapeType="1" noTextEdit="1"/>
              </p:cNvSpPr>
              <p:nvPr/>
            </p:nvSpPr>
            <p:spPr>
              <a:xfrm>
                <a:off x="918150" y="5842521"/>
                <a:ext cx="6701850" cy="569154"/>
              </a:xfrm>
              <a:prstGeom prst="rect">
                <a:avLst/>
              </a:prstGeom>
              <a:blipFill>
                <a:blip r:embed="rId2"/>
                <a:stretch>
                  <a:fillRect l="-1911" t="-10638" b="-21277"/>
                </a:stretch>
              </a:blipFill>
            </p:spPr>
            <p:txBody>
              <a:bodyPr/>
              <a:lstStyle/>
              <a:p>
                <a:r>
                  <a:rPr lang="en-US">
                    <a:noFill/>
                  </a:rPr>
                  <a:t> </a:t>
                </a:r>
              </a:p>
            </p:txBody>
          </p:sp>
        </mc:Fallback>
      </mc:AlternateContent>
      <p:graphicFrame>
        <p:nvGraphicFramePr>
          <p:cNvPr id="5" name="Chart 4">
            <a:extLst>
              <a:ext uri="{FF2B5EF4-FFF2-40B4-BE49-F238E27FC236}">
                <a16:creationId xmlns:a16="http://schemas.microsoft.com/office/drawing/2014/main" id="{95146960-BF27-5DD0-E995-CD95FDCD84C0}"/>
              </a:ext>
            </a:extLst>
          </p:cNvPr>
          <p:cNvGraphicFramePr>
            <a:graphicFrameLocks/>
          </p:cNvGraphicFramePr>
          <p:nvPr>
            <p:extLst>
              <p:ext uri="{D42A27DB-BD31-4B8C-83A1-F6EECF244321}">
                <p14:modId xmlns:p14="http://schemas.microsoft.com/office/powerpoint/2010/main" val="934622445"/>
              </p:ext>
            </p:extLst>
          </p:nvPr>
        </p:nvGraphicFramePr>
        <p:xfrm>
          <a:off x="250824" y="1392382"/>
          <a:ext cx="11439144" cy="42856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938536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Adstocking</a:t>
            </a:r>
          </a:p>
        </p:txBody>
      </p:sp>
      <p:sp>
        <p:nvSpPr>
          <p:cNvPr id="2" name="Rectangle 1">
            <a:extLst>
              <a:ext uri="{FF2B5EF4-FFF2-40B4-BE49-F238E27FC236}">
                <a16:creationId xmlns:a16="http://schemas.microsoft.com/office/drawing/2014/main" id="{2DF59AAA-40F4-7EA5-3876-DB6A1B908C62}"/>
              </a:ext>
            </a:extLst>
          </p:cNvPr>
          <p:cNvSpPr/>
          <p:nvPr/>
        </p:nvSpPr>
        <p:spPr bwMode="auto">
          <a:xfrm>
            <a:off x="886494" y="4418419"/>
            <a:ext cx="10806742" cy="1681409"/>
          </a:xfrm>
          <a:prstGeom prst="rect">
            <a:avLst/>
          </a:prstGeom>
          <a:solidFill>
            <a:schemeClr val="accent1">
              <a:lumMod val="20000"/>
              <a:lumOff val="80000"/>
            </a:schemeClr>
          </a:solidFill>
          <a:ln w="9525">
            <a:noFill/>
            <a:round/>
            <a:headEnd/>
            <a:tailEnd/>
          </a:ln>
        </p:spPr>
        <p:txBody>
          <a:bodyPr vert="horz" wrap="square" lIns="91440" tIns="45720" rIns="91440" bIns="45720" numCol="1" rtlCol="0" anchor="ctr" anchorCtr="0" compatLnSpc="1">
            <a:prstTxWarp prst="textNoShape">
              <a:avLst/>
            </a:prstTxWarp>
          </a:bodyPr>
          <a:lstStyle/>
          <a:p>
            <a:pPr marL="285750" indent="-285750">
              <a:buFont typeface="Arial" panose="020B0604020202020204" pitchFamily="34" charset="0"/>
              <a:buChar char="•"/>
            </a:pPr>
            <a:r>
              <a:rPr lang="en-US" sz="1600" dirty="0"/>
              <a:t>Used in marketing mix models</a:t>
            </a:r>
          </a:p>
          <a:p>
            <a:pPr marL="742950" lvl="2" indent="-285750">
              <a:buFont typeface="Courier New" panose="02070309020205020404" pitchFamily="49" charset="0"/>
              <a:buChar char="o"/>
            </a:pPr>
            <a:r>
              <a:rPr lang="en-US" sz="1600" dirty="0"/>
              <a:t>Creating advertising &amp; promotional refined variables</a:t>
            </a:r>
          </a:p>
          <a:p>
            <a:pPr marL="285750" indent="-285750">
              <a:spcBef>
                <a:spcPts val="600"/>
              </a:spcBef>
              <a:spcAft>
                <a:spcPts val="600"/>
              </a:spcAft>
              <a:buFont typeface="Arial" panose="020B0604020202020204" pitchFamily="34" charset="0"/>
              <a:buChar char="•"/>
            </a:pPr>
            <a:r>
              <a:rPr lang="en-US" sz="1600" dirty="0"/>
              <a:t>Cited in several marketing science journals</a:t>
            </a:r>
          </a:p>
        </p:txBody>
      </p:sp>
      <p:sp>
        <p:nvSpPr>
          <p:cNvPr id="3" name="Rectangle 2">
            <a:extLst>
              <a:ext uri="{FF2B5EF4-FFF2-40B4-BE49-F238E27FC236}">
                <a16:creationId xmlns:a16="http://schemas.microsoft.com/office/drawing/2014/main" id="{CAEF2430-2063-92CC-2FD9-52DE2CE31F21}"/>
              </a:ext>
            </a:extLst>
          </p:cNvPr>
          <p:cNvSpPr/>
          <p:nvPr/>
        </p:nvSpPr>
        <p:spPr bwMode="auto">
          <a:xfrm>
            <a:off x="879234" y="1825150"/>
            <a:ext cx="10806742" cy="2458625"/>
          </a:xfrm>
          <a:prstGeom prst="rect">
            <a:avLst/>
          </a:prstGeom>
          <a:solidFill>
            <a:schemeClr val="bg1">
              <a:lumMod val="95000"/>
            </a:schemeClr>
          </a:solidFill>
          <a:ln w="9525">
            <a:noFill/>
            <a:round/>
            <a:headEnd/>
            <a:tailEnd/>
          </a:ln>
        </p:spPr>
        <p:txBody>
          <a:bodyPr vert="horz" wrap="square" lIns="91440" tIns="45720" rIns="91440" bIns="45720" numCol="1" rtlCol="0" anchor="t" anchorCtr="0" compatLnSpc="1">
            <a:prstTxWarp prst="textNoShape">
              <a:avLst/>
            </a:prstTxWarp>
          </a:bodyPr>
          <a:lstStyle/>
          <a:p>
            <a:pPr marL="285750" indent="-285750">
              <a:buFont typeface="Arial" panose="020B0604020202020204" pitchFamily="34" charset="0"/>
              <a:buChar char="•"/>
            </a:pPr>
            <a:r>
              <a:rPr lang="en-US" sz="1600" dirty="0"/>
              <a:t>It is constructed to represent the ‘stock’ of present and past advertising efforts</a:t>
            </a:r>
          </a:p>
          <a:p>
            <a:pPr marL="742950" lvl="1" indent="-285750">
              <a:buFont typeface="Courier New" panose="02070309020205020404" pitchFamily="49" charset="0"/>
              <a:buChar char="o"/>
            </a:pPr>
            <a:r>
              <a:rPr lang="en-US" sz="1400" dirty="0"/>
              <a:t>Captures the prolonged or lagged effect of advertising (advertising memory) on consumer purchasing behavior</a:t>
            </a:r>
          </a:p>
        </p:txBody>
      </p:sp>
      <p:graphicFrame>
        <p:nvGraphicFramePr>
          <p:cNvPr id="4" name="Chart 3">
            <a:extLst>
              <a:ext uri="{FF2B5EF4-FFF2-40B4-BE49-F238E27FC236}">
                <a16:creationId xmlns:a16="http://schemas.microsoft.com/office/drawing/2014/main" id="{44A18497-1C4A-C7AA-9612-ED001013BAEB}"/>
              </a:ext>
            </a:extLst>
          </p:cNvPr>
          <p:cNvGraphicFramePr/>
          <p:nvPr>
            <p:extLst>
              <p:ext uri="{D42A27DB-BD31-4B8C-83A1-F6EECF244321}">
                <p14:modId xmlns:p14="http://schemas.microsoft.com/office/powerpoint/2010/main" val="2348278516"/>
              </p:ext>
            </p:extLst>
          </p:nvPr>
        </p:nvGraphicFramePr>
        <p:xfrm>
          <a:off x="1226833" y="2750148"/>
          <a:ext cx="10114146" cy="1577155"/>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DC31BC06-AA66-2A7C-6E23-4976C238F722}"/>
              </a:ext>
            </a:extLst>
          </p:cNvPr>
          <p:cNvSpPr txBox="1"/>
          <p:nvPr/>
        </p:nvSpPr>
        <p:spPr bwMode="gray">
          <a:xfrm>
            <a:off x="549504" y="1432006"/>
            <a:ext cx="314214" cy="2833271"/>
          </a:xfrm>
          <a:prstGeom prst="rect">
            <a:avLst/>
          </a:prstGeom>
          <a:solidFill>
            <a:srgbClr val="E24301"/>
          </a:solidFill>
        </p:spPr>
        <p:txBody>
          <a:bodyPr vert="vert270" wrap="square" lIns="0" tIns="0" rIns="0" bIns="0" rtlCol="0" anchor="ctr">
            <a:noAutofit/>
          </a:bodyPr>
          <a:lstStyle/>
          <a:p>
            <a:pPr algn="ctr"/>
            <a:r>
              <a:rPr lang="en-US" sz="1600" b="1" dirty="0">
                <a:solidFill>
                  <a:schemeClr val="bg1"/>
                </a:solidFill>
              </a:rPr>
              <a:t>What?</a:t>
            </a:r>
          </a:p>
        </p:txBody>
      </p:sp>
      <p:sp>
        <p:nvSpPr>
          <p:cNvPr id="7" name="Rectangle 6">
            <a:extLst>
              <a:ext uri="{FF2B5EF4-FFF2-40B4-BE49-F238E27FC236}">
                <a16:creationId xmlns:a16="http://schemas.microsoft.com/office/drawing/2014/main" id="{07012784-6DC7-1D06-FDB5-7CDD5FB9E162}"/>
              </a:ext>
            </a:extLst>
          </p:cNvPr>
          <p:cNvSpPr/>
          <p:nvPr/>
        </p:nvSpPr>
        <p:spPr bwMode="auto">
          <a:xfrm>
            <a:off x="879234" y="1432006"/>
            <a:ext cx="10806742" cy="374644"/>
          </a:xfrm>
          <a:prstGeom prst="rect">
            <a:avLst/>
          </a:prstGeom>
          <a:solidFill>
            <a:srgbClr val="E24301"/>
          </a:solidFill>
        </p:spPr>
        <p:txBody>
          <a:bodyPr vert="horz" wrap="square" lIns="0" tIns="0" rIns="0" bIns="0" rtlCol="0" anchor="ctr">
            <a:noAutofit/>
          </a:bodyPr>
          <a:lstStyle/>
          <a:p>
            <a:pPr algn="ctr"/>
            <a:r>
              <a:rPr lang="en-US" sz="1600" b="1" dirty="0">
                <a:solidFill>
                  <a:schemeClr val="bg1"/>
                </a:solidFill>
              </a:rPr>
              <a:t>Advertising </a:t>
            </a:r>
            <a:r>
              <a:rPr lang="en-US" sz="1600" b="1" dirty="0" err="1">
                <a:solidFill>
                  <a:schemeClr val="bg1"/>
                </a:solidFill>
              </a:rPr>
              <a:t>adstock</a:t>
            </a:r>
            <a:endParaRPr lang="en-US" sz="1600" b="1" dirty="0">
              <a:solidFill>
                <a:schemeClr val="bg1"/>
              </a:solidFill>
            </a:endParaRPr>
          </a:p>
        </p:txBody>
      </p:sp>
      <p:sp>
        <p:nvSpPr>
          <p:cNvPr id="8" name="TextBox 7">
            <a:extLst>
              <a:ext uri="{FF2B5EF4-FFF2-40B4-BE49-F238E27FC236}">
                <a16:creationId xmlns:a16="http://schemas.microsoft.com/office/drawing/2014/main" id="{302BF562-3198-83A1-3FD4-B890394A0617}"/>
              </a:ext>
            </a:extLst>
          </p:cNvPr>
          <p:cNvSpPr txBox="1"/>
          <p:nvPr/>
        </p:nvSpPr>
        <p:spPr bwMode="gray">
          <a:xfrm>
            <a:off x="549504" y="4405184"/>
            <a:ext cx="314213" cy="1695601"/>
          </a:xfrm>
          <a:prstGeom prst="rect">
            <a:avLst/>
          </a:prstGeom>
          <a:solidFill>
            <a:schemeClr val="accent3">
              <a:lumMod val="60000"/>
              <a:lumOff val="40000"/>
            </a:schemeClr>
          </a:solidFill>
        </p:spPr>
        <p:txBody>
          <a:bodyPr vert="vert270" wrap="square" lIns="0" tIns="0" rIns="0" bIns="0" rtlCol="0" anchor="ctr">
            <a:noAutofit/>
          </a:bodyPr>
          <a:lstStyle/>
          <a:p>
            <a:pPr algn="ctr"/>
            <a:r>
              <a:rPr lang="en-US" sz="1600" b="1" dirty="0">
                <a:solidFill>
                  <a:schemeClr val="bg1"/>
                </a:solidFill>
              </a:rPr>
              <a:t>Popularity</a:t>
            </a:r>
          </a:p>
        </p:txBody>
      </p:sp>
      <p:cxnSp>
        <p:nvCxnSpPr>
          <p:cNvPr id="9" name="Straight Arrow Connector 8">
            <a:extLst>
              <a:ext uri="{FF2B5EF4-FFF2-40B4-BE49-F238E27FC236}">
                <a16:creationId xmlns:a16="http://schemas.microsoft.com/office/drawing/2014/main" id="{5FEF0664-5EC5-1618-A17C-A84FAD01840E}"/>
              </a:ext>
            </a:extLst>
          </p:cNvPr>
          <p:cNvCxnSpPr>
            <a:cxnSpLocks/>
          </p:cNvCxnSpPr>
          <p:nvPr/>
        </p:nvCxnSpPr>
        <p:spPr bwMode="gray">
          <a:xfrm flipH="1">
            <a:off x="2764783" y="3110784"/>
            <a:ext cx="42350" cy="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7254CE6-FC82-A2FE-0731-794808F2147B}"/>
              </a:ext>
            </a:extLst>
          </p:cNvPr>
          <p:cNvSpPr txBox="1"/>
          <p:nvPr/>
        </p:nvSpPr>
        <p:spPr bwMode="gray">
          <a:xfrm>
            <a:off x="2789586" y="2984542"/>
            <a:ext cx="1458027" cy="240603"/>
          </a:xfrm>
          <a:prstGeom prst="rect">
            <a:avLst/>
          </a:prstGeom>
        </p:spPr>
        <p:txBody>
          <a:bodyPr vert="horz" wrap="square" lIns="0" tIns="0" rIns="0" bIns="0" rtlCol="0" anchor="ctr">
            <a:noAutofit/>
          </a:bodyPr>
          <a:lstStyle/>
          <a:p>
            <a:pPr algn="ctr"/>
            <a:r>
              <a:rPr lang="en-US" sz="1200" b="1" dirty="0">
                <a:solidFill>
                  <a:srgbClr val="33CC33"/>
                </a:solidFill>
              </a:rPr>
              <a:t>Initial advertising</a:t>
            </a:r>
          </a:p>
        </p:txBody>
      </p:sp>
      <p:cxnSp>
        <p:nvCxnSpPr>
          <p:cNvPr id="11" name="Straight Arrow Connector 10">
            <a:extLst>
              <a:ext uri="{FF2B5EF4-FFF2-40B4-BE49-F238E27FC236}">
                <a16:creationId xmlns:a16="http://schemas.microsoft.com/office/drawing/2014/main" id="{FAFA18CC-92A8-615E-209F-A0E268FE1094}"/>
              </a:ext>
            </a:extLst>
          </p:cNvPr>
          <p:cNvCxnSpPr>
            <a:cxnSpLocks/>
          </p:cNvCxnSpPr>
          <p:nvPr/>
        </p:nvCxnSpPr>
        <p:spPr bwMode="gray">
          <a:xfrm flipH="1">
            <a:off x="4321445" y="3517185"/>
            <a:ext cx="31418" cy="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67F8925-B24C-A8B8-A565-E5024CEADAB0}"/>
              </a:ext>
            </a:extLst>
          </p:cNvPr>
          <p:cNvSpPr txBox="1"/>
          <p:nvPr/>
        </p:nvSpPr>
        <p:spPr bwMode="gray">
          <a:xfrm>
            <a:off x="4255527" y="3390943"/>
            <a:ext cx="3688908" cy="240603"/>
          </a:xfrm>
          <a:prstGeom prst="rect">
            <a:avLst/>
          </a:prstGeom>
        </p:spPr>
        <p:txBody>
          <a:bodyPr vert="horz" wrap="square" lIns="0" tIns="0" rIns="0" bIns="0" rtlCol="0" anchor="ctr">
            <a:noAutofit/>
          </a:bodyPr>
          <a:lstStyle/>
          <a:p>
            <a:pPr algn="ctr"/>
            <a:r>
              <a:rPr lang="en-US" sz="1200" b="1" dirty="0" err="1">
                <a:solidFill>
                  <a:srgbClr val="3366FF"/>
                </a:solidFill>
              </a:rPr>
              <a:t>Adstocked</a:t>
            </a:r>
            <a:r>
              <a:rPr lang="en-US" sz="1200" b="1" dirty="0">
                <a:solidFill>
                  <a:srgbClr val="3366FF"/>
                </a:solidFill>
              </a:rPr>
              <a:t> advertising (or advertising memory)</a:t>
            </a:r>
          </a:p>
        </p:txBody>
      </p:sp>
    </p:spTree>
    <p:extLst>
      <p:ext uri="{BB962C8B-B14F-4D97-AF65-F5344CB8AC3E}">
        <p14:creationId xmlns:p14="http://schemas.microsoft.com/office/powerpoint/2010/main" val="27931250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9EFA-4C3C-A5B0-8291-21FA98C71F63}"/>
              </a:ext>
            </a:extLst>
          </p:cNvPr>
          <p:cNvSpPr>
            <a:spLocks noGrp="1"/>
          </p:cNvSpPr>
          <p:nvPr>
            <p:ph type="title"/>
          </p:nvPr>
        </p:nvSpPr>
        <p:spPr/>
        <p:txBody>
          <a:bodyPr/>
          <a:lstStyle/>
          <a:p>
            <a:r>
              <a:rPr lang="en-US" dirty="0"/>
              <a:t>Decay forms</a:t>
            </a:r>
          </a:p>
        </p:txBody>
      </p:sp>
      <p:sp>
        <p:nvSpPr>
          <p:cNvPr id="3" name="Slide Number Placeholder 2">
            <a:extLst>
              <a:ext uri="{FF2B5EF4-FFF2-40B4-BE49-F238E27FC236}">
                <a16:creationId xmlns:a16="http://schemas.microsoft.com/office/drawing/2014/main" id="{6FE88262-069B-CD54-4040-0F18F890D967}"/>
              </a:ext>
            </a:extLst>
          </p:cNvPr>
          <p:cNvSpPr>
            <a:spLocks noGrp="1"/>
          </p:cNvSpPr>
          <p:nvPr>
            <p:ph type="sldNum" sz="quarter" idx="12"/>
          </p:nvPr>
        </p:nvSpPr>
        <p:spPr/>
        <p:txBody>
          <a:bodyPr/>
          <a:lstStyle/>
          <a:p>
            <a:fld id="{29CC380D-5F44-41E8-971E-CDD19ED6F8E3}" type="slidenum">
              <a:rPr lang="en-GB" smtClean="0"/>
              <a:t>3</a:t>
            </a:fld>
            <a:endParaRPr lang="en-GB"/>
          </a:p>
        </p:txBody>
      </p:sp>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0EE876F2-37B1-EF8E-8D49-B3C31F540672}"/>
                  </a:ext>
                </a:extLst>
              </p:cNvPr>
              <p:cNvSpPr>
                <a:spLocks noGrp="1"/>
              </p:cNvSpPr>
              <p:nvPr>
                <p:ph sz="quarter" idx="14"/>
              </p:nvPr>
            </p:nvSpPr>
            <p:spPr>
              <a:xfrm>
                <a:off x="375031" y="1627489"/>
                <a:ext cx="11439144" cy="4453128"/>
              </a:xfrm>
            </p:spPr>
            <p:txBody>
              <a:bodyPr/>
              <a:lstStyle/>
              <a:p>
                <a:r>
                  <a:rPr lang="en-US" sz="1600" b="1" dirty="0"/>
                  <a:t>Exponential Decay - </a:t>
                </a:r>
              </a:p>
              <a:p>
                <a:endParaRPr lang="en-US" sz="700" dirty="0"/>
              </a:p>
              <a:p>
                <a:pPr/>
                <a14:m>
                  <m:oMathPara xmlns:m="http://schemas.openxmlformats.org/officeDocument/2006/math">
                    <m:oMathParaPr>
                      <m:jc m:val="left"/>
                    </m:oMathParaPr>
                    <m:oMath xmlns:m="http://schemas.openxmlformats.org/officeDocument/2006/math">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e>
                      </m:d>
                      <m:r>
                        <a:rPr lang="en-US" sz="1600" b="0" i="1" baseline="-25000" smtClean="0">
                          <a:latin typeface="Cambria Math" panose="02040503050406030204" pitchFamily="18" charset="0"/>
                        </a:rPr>
                        <m:t>𝑎𝑑𝑠𝑡𝑜𝑐𝑘</m:t>
                      </m:r>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 </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𝑒</m:t>
                      </m:r>
                      <m:r>
                        <a:rPr lang="en-US" sz="1600" b="0" i="1" smtClean="0">
                          <a:latin typeface="Cambria Math" panose="02040503050406030204" pitchFamily="18" charset="0"/>
                        </a:rPr>
                        <m:t> ∗</m:t>
                      </m:r>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𝑎𝑑𝑠𝑡𝑜𝑐𝑘</m:t>
                      </m:r>
                    </m:oMath>
                  </m:oMathPara>
                </a14:m>
                <a:endParaRPr lang="en-US" sz="1600" baseline="-25000" dirty="0"/>
              </a:p>
              <a:p>
                <a:endParaRPr lang="en-US" sz="1600" dirty="0"/>
              </a:p>
              <a:p>
                <a:pPr/>
                <a14:m>
                  <m:oMathPara xmlns:m="http://schemas.openxmlformats.org/officeDocument/2006/math">
                    <m:oMathParaPr>
                      <m:jc m:val="left"/>
                    </m:oMathParaPr>
                    <m:oMath xmlns:m="http://schemas.openxmlformats.org/officeDocument/2006/math">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𝑎𝑑𝑠𝑡𝑜𝑐𝑘</m:t>
                      </m:r>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 </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𝑒</m:t>
                      </m:r>
                      <m:r>
                        <a:rPr lang="en-US" sz="1600" b="0" i="1" smtClean="0">
                          <a:latin typeface="Cambria Math" panose="02040503050406030204" pitchFamily="18" charset="0"/>
                        </a:rPr>
                        <m:t> ∗</m:t>
                      </m:r>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e>
                      </m:d>
                      <m:r>
                        <a:rPr lang="en-US" sz="1600" b="0" i="1" baseline="-25000" smtClean="0">
                          <a:latin typeface="Cambria Math" panose="02040503050406030204" pitchFamily="18" charset="0"/>
                        </a:rPr>
                        <m:t>𝑎𝑑𝑠𝑡𝑜𝑐𝑘</m:t>
                      </m:r>
                    </m:oMath>
                  </m:oMathPara>
                </a14:m>
                <a:endParaRPr lang="en-US" sz="1600" baseline="-25000" dirty="0"/>
              </a:p>
              <a:p>
                <a:endParaRPr lang="en-US" sz="1600" dirty="0"/>
              </a:p>
              <a:p>
                <a:pPr/>
                <a14:m>
                  <m:oMathPara xmlns:m="http://schemas.openxmlformats.org/officeDocument/2006/math">
                    <m:oMathParaPr>
                      <m:jc m:val="left"/>
                    </m:oMathParaPr>
                    <m:oMath xmlns:m="http://schemas.openxmlformats.org/officeDocument/2006/math">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𝑎𝑑𝑠𝑡𝑜𝑐𝑘</m:t>
                      </m:r>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 </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𝑒</m:t>
                      </m:r>
                      <m:r>
                        <a:rPr lang="en-US" sz="1600" b="0" i="1" smtClean="0">
                          <a:latin typeface="Cambria Math" panose="02040503050406030204" pitchFamily="18" charset="0"/>
                        </a:rPr>
                        <m:t> ∗</m:t>
                      </m:r>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2</m:t>
                          </m:r>
                        </m:e>
                      </m:d>
                      <m:r>
                        <a:rPr lang="en-US" sz="1600" b="0" i="1" baseline="-25000" smtClean="0">
                          <a:latin typeface="Cambria Math" panose="02040503050406030204" pitchFamily="18" charset="0"/>
                        </a:rPr>
                        <m:t>𝑎𝑑𝑠𝑡𝑜𝑐𝑘</m:t>
                      </m:r>
                    </m:oMath>
                  </m:oMathPara>
                </a14:m>
                <a:endParaRPr lang="en-US" sz="1600" baseline="-25000" dirty="0"/>
              </a:p>
              <a:p>
                <a:r>
                  <a:rPr lang="en-US" sz="1400" i="1" dirty="0"/>
                  <a:t>where </a:t>
                </a:r>
                <a:r>
                  <a:rPr lang="en-US" sz="1400" i="1" dirty="0" err="1"/>
                  <a:t>i</a:t>
                </a:r>
                <a:r>
                  <a:rPr lang="en-US" sz="1400" i="1" dirty="0"/>
                  <a:t> stands for the time – period (month) and x is the promotion for the “</a:t>
                </a:r>
                <a:r>
                  <a:rPr lang="en-US" sz="1400" i="1" dirty="0" err="1"/>
                  <a:t>i</a:t>
                </a:r>
                <a:r>
                  <a:rPr lang="en-US" sz="1400" i="1" dirty="0"/>
                  <a:t>” month</a:t>
                </a:r>
              </a:p>
              <a:p>
                <a:endParaRPr lang="en-US" sz="1600" dirty="0"/>
              </a:p>
              <a:p>
                <a:r>
                  <a:rPr lang="en-US" sz="1600" b="1" dirty="0"/>
                  <a:t>Exponential Decay (with “n” lagged months) </a:t>
                </a:r>
              </a:p>
              <a:p>
                <a:endParaRPr lang="en-US" sz="1600" dirty="0"/>
              </a:p>
              <a:p>
                <a:pPr/>
                <a14:m>
                  <m:oMathPara xmlns:m="http://schemas.openxmlformats.org/officeDocument/2006/math">
                    <m:oMathParaPr>
                      <m:jc m:val="left"/>
                    </m:oMathParaPr>
                    <m:oMath xmlns:m="http://schemas.openxmlformats.org/officeDocument/2006/math">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e>
                      </m:d>
                      <m:r>
                        <a:rPr lang="en-US" sz="1600" b="0" i="1" baseline="-25000" smtClean="0">
                          <a:latin typeface="Cambria Math" panose="02040503050406030204" pitchFamily="18" charset="0"/>
                        </a:rPr>
                        <m:t>𝑎𝑑𝑠𝑡𝑜𝑐𝑘</m:t>
                      </m:r>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 </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𝑒</m:t>
                      </m:r>
                      <m:r>
                        <a:rPr lang="en-US" sz="1600" b="0" i="1" smtClean="0">
                          <a:latin typeface="Cambria Math" panose="02040503050406030204" pitchFamily="18" charset="0"/>
                        </a:rPr>
                        <m:t> ∗</m:t>
                      </m:r>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1</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𝑒</m:t>
                          </m:r>
                        </m:e>
                        <m:sup>
                          <m:r>
                            <a:rPr lang="en-US" sz="1600" b="0" i="1" smtClean="0">
                              <a:latin typeface="Cambria Math" panose="02040503050406030204" pitchFamily="18" charset="0"/>
                            </a:rPr>
                            <m:t>2</m:t>
                          </m:r>
                        </m:sup>
                      </m:sSup>
                      <m:r>
                        <a:rPr lang="en-US" sz="1600" b="0" i="1" smtClean="0">
                          <a:latin typeface="Cambria Math" panose="02040503050406030204" pitchFamily="18" charset="0"/>
                        </a:rPr>
                        <m:t>∗</m:t>
                      </m:r>
                      <m:r>
                        <a:rPr lang="en-US" sz="1600" b="0" i="1" smtClean="0">
                          <a:latin typeface="Cambria Math" panose="02040503050406030204" pitchFamily="18" charset="0"/>
                        </a:rPr>
                        <m:t>𝑥</m:t>
                      </m:r>
                      <m:d>
                        <m:dPr>
                          <m:ctrlPr>
                            <a:rPr lang="en-US" sz="1600" b="0" i="1" smtClean="0">
                              <a:latin typeface="Cambria Math" panose="02040503050406030204" pitchFamily="18" charset="0"/>
                            </a:rPr>
                          </m:ctrlPr>
                        </m:dPr>
                        <m:e>
                          <m:r>
                            <a:rPr lang="en-US" sz="1600" b="0" i="1" smtClean="0">
                              <a:latin typeface="Cambria Math" panose="02040503050406030204" pitchFamily="18" charset="0"/>
                            </a:rPr>
                            <m:t>𝑖</m:t>
                          </m:r>
                          <m:r>
                            <a:rPr lang="en-US" sz="1600" b="0" i="1" smtClean="0">
                              <a:latin typeface="Cambria Math" panose="02040503050406030204" pitchFamily="18" charset="0"/>
                            </a:rPr>
                            <m:t>−2</m:t>
                          </m:r>
                        </m:e>
                      </m:d>
                      <m:r>
                        <a:rPr lang="en-US" sz="1600" b="0" i="1" baseline="-25000" smtClean="0">
                          <a:latin typeface="Cambria Math" panose="02040503050406030204" pitchFamily="18" charset="0"/>
                        </a:rPr>
                        <m:t>𝑐𝑢𝑟𝑟𝑒𝑛𝑡</m:t>
                      </m:r>
                      <m:r>
                        <a:rPr lang="en-US" sz="1600" b="0" i="1" smtClean="0">
                          <a:latin typeface="Cambria Math" panose="02040503050406030204" pitchFamily="18" charset="0"/>
                        </a:rPr>
                        <m:t>+.…………….+</m:t>
                      </m:r>
                      <m:r>
                        <a:rPr lang="en-US" sz="1600" b="0" i="1" smtClean="0">
                          <a:latin typeface="Cambria Math" panose="02040503050406030204" pitchFamily="18" charset="0"/>
                        </a:rPr>
                        <m:t>𝑑𝑒𝑐𝑎𝑦</m:t>
                      </m:r>
                      <m:r>
                        <a:rPr lang="en-US" sz="1600" b="0" i="1" smtClean="0">
                          <a:latin typeface="Cambria Math" panose="02040503050406030204" pitchFamily="18" charset="0"/>
                        </a:rPr>
                        <m:t> </m:t>
                      </m:r>
                      <m:r>
                        <a:rPr lang="en-US" sz="1600" b="0" i="1" smtClean="0">
                          <a:latin typeface="Cambria Math" panose="02040503050406030204" pitchFamily="18" charset="0"/>
                        </a:rPr>
                        <m:t>𝑟𝑎𝑡</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𝑒</m:t>
                          </m:r>
                        </m:e>
                        <m:sup>
                          <m:r>
                            <a:rPr lang="en-US" sz="1600" b="0" i="1" baseline="30000" smtClean="0">
                              <a:latin typeface="Cambria Math" panose="02040503050406030204" pitchFamily="18" charset="0"/>
                            </a:rPr>
                            <m:t>𝑛</m:t>
                          </m:r>
                        </m:sup>
                      </m:sSup>
                      <m:r>
                        <a:rPr lang="en-US" sz="1600" b="0" i="1" smtClean="0">
                          <a:latin typeface="Cambria Math" panose="02040503050406030204" pitchFamily="18" charset="0"/>
                        </a:rPr>
                        <m:t>∗</m:t>
                      </m:r>
                      <m:r>
                        <a:rPr lang="en-US" sz="1600" b="0" i="1" smtClean="0">
                          <a:latin typeface="Cambria Math" panose="02040503050406030204" pitchFamily="18" charset="0"/>
                        </a:rPr>
                        <m:t>𝑥</m:t>
                      </m:r>
                      <m:r>
                        <a:rPr lang="en-US" sz="1600" b="0" i="1" smtClean="0">
                          <a:latin typeface="Cambria Math" panose="02040503050406030204" pitchFamily="18" charset="0"/>
                        </a:rPr>
                        <m:t>(</m:t>
                      </m:r>
                      <m:r>
                        <a:rPr lang="en-US" sz="1600" b="0" i="1" smtClean="0">
                          <a:latin typeface="Cambria Math" panose="02040503050406030204" pitchFamily="18" charset="0"/>
                        </a:rPr>
                        <m:t>𝑖</m:t>
                      </m:r>
                      <m:r>
                        <a:rPr lang="en-US" sz="1600" b="0" i="1" smtClean="0">
                          <a:latin typeface="Cambria Math" panose="02040503050406030204" pitchFamily="18" charset="0"/>
                        </a:rPr>
                        <m:t>−</m:t>
                      </m:r>
                      <m:r>
                        <a:rPr lang="en-US" sz="1600" b="0" i="1" smtClean="0">
                          <a:latin typeface="Cambria Math" panose="02040503050406030204" pitchFamily="18" charset="0"/>
                        </a:rPr>
                        <m:t>𝑛</m:t>
                      </m:r>
                      <m:r>
                        <a:rPr lang="en-US" sz="1600" b="0" i="1" smtClean="0">
                          <a:latin typeface="Cambria Math" panose="02040503050406030204" pitchFamily="18" charset="0"/>
                        </a:rPr>
                        <m:t>)</m:t>
                      </m:r>
                    </m:oMath>
                  </m:oMathPara>
                </a14:m>
                <a:endParaRPr lang="en-US" sz="1600" dirty="0"/>
              </a:p>
              <a:p>
                <a:endParaRPr lang="en-US" sz="1600" dirty="0"/>
              </a:p>
            </p:txBody>
          </p:sp>
        </mc:Choice>
        <mc:Fallback xmlns="">
          <p:sp>
            <p:nvSpPr>
              <p:cNvPr id="4" name="Content Placeholder 3">
                <a:extLst>
                  <a:ext uri="{FF2B5EF4-FFF2-40B4-BE49-F238E27FC236}">
                    <a16:creationId xmlns:a16="http://schemas.microsoft.com/office/drawing/2014/main" id="{0EE876F2-37B1-EF8E-8D49-B3C31F540672}"/>
                  </a:ext>
                </a:extLst>
              </p:cNvPr>
              <p:cNvSpPr>
                <a:spLocks noGrp="1" noRot="1" noChangeAspect="1" noMove="1" noResize="1" noEditPoints="1" noAdjustHandles="1" noChangeArrowheads="1" noChangeShapeType="1" noTextEdit="1"/>
              </p:cNvSpPr>
              <p:nvPr>
                <p:ph sz="quarter" idx="14"/>
              </p:nvPr>
            </p:nvSpPr>
            <p:spPr>
              <a:xfrm>
                <a:off x="375031" y="1627489"/>
                <a:ext cx="11439144" cy="4453128"/>
              </a:xfrm>
              <a:blipFill>
                <a:blip r:embed="rId2"/>
                <a:stretch>
                  <a:fillRect l="-1119" t="-1507"/>
                </a:stretch>
              </a:blipFill>
            </p:spPr>
            <p:txBody>
              <a:bodyPr/>
              <a:lstStyle/>
              <a:p>
                <a:r>
                  <a:rPr lang="en-US">
                    <a:noFill/>
                  </a:rPr>
                  <a:t> </a:t>
                </a:r>
              </a:p>
            </p:txBody>
          </p:sp>
        </mc:Fallback>
      </mc:AlternateContent>
    </p:spTree>
    <p:extLst>
      <p:ext uri="{BB962C8B-B14F-4D97-AF65-F5344CB8AC3E}">
        <p14:creationId xmlns:p14="http://schemas.microsoft.com/office/powerpoint/2010/main" val="427308916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E6C7F-54B4-A4BA-F90F-6DA69F45B03E}"/>
              </a:ext>
            </a:extLst>
          </p:cNvPr>
          <p:cNvSpPr>
            <a:spLocks noGrp="1"/>
          </p:cNvSpPr>
          <p:nvPr>
            <p:ph type="title"/>
          </p:nvPr>
        </p:nvSpPr>
        <p:spPr/>
        <p:txBody>
          <a:bodyPr/>
          <a:lstStyle/>
          <a:p>
            <a:r>
              <a:rPr lang="en-US" dirty="0"/>
              <a:t>Lagged variables</a:t>
            </a:r>
          </a:p>
        </p:txBody>
      </p:sp>
      <p:sp>
        <p:nvSpPr>
          <p:cNvPr id="3" name="Slide Number Placeholder 2">
            <a:extLst>
              <a:ext uri="{FF2B5EF4-FFF2-40B4-BE49-F238E27FC236}">
                <a16:creationId xmlns:a16="http://schemas.microsoft.com/office/drawing/2014/main" id="{4CAABEB5-F3B3-4BED-14C5-32879720091F}"/>
              </a:ext>
            </a:extLst>
          </p:cNvPr>
          <p:cNvSpPr>
            <a:spLocks noGrp="1"/>
          </p:cNvSpPr>
          <p:nvPr>
            <p:ph type="sldNum" sz="quarter" idx="12"/>
          </p:nvPr>
        </p:nvSpPr>
        <p:spPr/>
        <p:txBody>
          <a:bodyPr/>
          <a:lstStyle/>
          <a:p>
            <a:fld id="{29CC380D-5F44-41E8-971E-CDD19ED6F8E3}" type="slidenum">
              <a:rPr lang="en-GB" smtClean="0"/>
              <a:t>4</a:t>
            </a:fld>
            <a:endParaRPr lang="en-GB"/>
          </a:p>
        </p:txBody>
      </p:sp>
      <p:sp>
        <p:nvSpPr>
          <p:cNvPr id="4" name="Content Placeholder 3">
            <a:extLst>
              <a:ext uri="{FF2B5EF4-FFF2-40B4-BE49-F238E27FC236}">
                <a16:creationId xmlns:a16="http://schemas.microsoft.com/office/drawing/2014/main" id="{6C3B9EBB-264F-D4DF-1978-4C39C3C48C00}"/>
              </a:ext>
            </a:extLst>
          </p:cNvPr>
          <p:cNvSpPr>
            <a:spLocks noGrp="1"/>
          </p:cNvSpPr>
          <p:nvPr>
            <p:ph sz="quarter" idx="14"/>
          </p:nvPr>
        </p:nvSpPr>
        <p:spPr>
          <a:xfrm>
            <a:off x="377824" y="1430619"/>
            <a:ext cx="11439144" cy="4550791"/>
          </a:xfrm>
        </p:spPr>
        <p:txBody>
          <a:bodyPr/>
          <a:lstStyle/>
          <a:p>
            <a:r>
              <a:rPr lang="en-US" sz="1600" dirty="0"/>
              <a:t>Lagged variables are used to cater for the previous promotions/sales effect on the current month. </a:t>
            </a:r>
          </a:p>
          <a:p>
            <a:r>
              <a:rPr lang="en-US" sz="1600" dirty="0"/>
              <a:t>Advantages- </a:t>
            </a:r>
          </a:p>
          <a:p>
            <a:pPr marL="285750" indent="-285750">
              <a:buFont typeface="Arial" panose="020B0604020202020204" pitchFamily="34" charset="0"/>
              <a:buChar char="•"/>
            </a:pPr>
            <a:r>
              <a:rPr lang="en-US" sz="1600" dirty="0"/>
              <a:t>Incorporating time dependencies – capture the influence of past values on the current state</a:t>
            </a:r>
          </a:p>
          <a:p>
            <a:pPr marL="285750" indent="-285750">
              <a:buFont typeface="Arial" panose="020B0604020202020204" pitchFamily="34" charset="0"/>
              <a:buChar char="•"/>
            </a:pPr>
            <a:r>
              <a:rPr lang="en-US" sz="1600" dirty="0"/>
              <a:t>Simplicity – these can relatively be straightforward to implement in the regression models </a:t>
            </a:r>
          </a:p>
          <a:p>
            <a:pPr marL="285750" indent="-285750">
              <a:buFont typeface="Arial" panose="020B0604020202020204" pitchFamily="34" charset="0"/>
              <a:buChar char="•"/>
            </a:pPr>
            <a:r>
              <a:rPr lang="en-US" sz="1600" dirty="0"/>
              <a:t>Improved model fit – it improves the model fit by accounting for temporal dependencies</a:t>
            </a:r>
          </a:p>
          <a:p>
            <a:pPr marL="285750" indent="-285750">
              <a:buFont typeface="Arial" panose="020B0604020202020204" pitchFamily="34" charset="0"/>
              <a:buChar char="•"/>
            </a:pPr>
            <a:endParaRPr lang="en-US" sz="1600" dirty="0"/>
          </a:p>
          <a:p>
            <a:r>
              <a:rPr lang="en-US" sz="1600" dirty="0"/>
              <a:t>Disadvantages </a:t>
            </a:r>
          </a:p>
          <a:p>
            <a:pPr marL="285750" indent="-285750">
              <a:buFont typeface="Arial" panose="020B0604020202020204" pitchFamily="34" charset="0"/>
              <a:buChar char="•"/>
            </a:pPr>
            <a:r>
              <a:rPr lang="en-US" sz="1600" dirty="0"/>
              <a:t>Overfitting – use of too many lagged variables can lead to overfitting – resulting in less interpretable and less generalized model </a:t>
            </a:r>
          </a:p>
          <a:p>
            <a:pPr marL="285750" indent="-285750">
              <a:buFont typeface="Arial" panose="020B0604020202020204" pitchFamily="34" charset="0"/>
              <a:buChar char="•"/>
            </a:pPr>
            <a:r>
              <a:rPr lang="en-US" sz="1600" dirty="0"/>
              <a:t>Data availability – historical data for lagged may be not be readily available </a:t>
            </a:r>
          </a:p>
          <a:p>
            <a:pPr marL="285750" indent="-285750">
              <a:buFont typeface="Arial" panose="020B0604020202020204" pitchFamily="34" charset="0"/>
              <a:buChar char="•"/>
            </a:pPr>
            <a:r>
              <a:rPr lang="en-US" sz="1600" dirty="0"/>
              <a:t>Loss of interpretability – while lagged variables can improve the model fit, they often come at the cost of interpretability in the real-world scenario</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87343953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6C9E8-AA35-BB16-5727-0EF747E1EF83}"/>
              </a:ext>
            </a:extLst>
          </p:cNvPr>
          <p:cNvSpPr>
            <a:spLocks noGrp="1"/>
          </p:cNvSpPr>
          <p:nvPr>
            <p:ph type="title"/>
          </p:nvPr>
        </p:nvSpPr>
        <p:spPr/>
        <p:txBody>
          <a:bodyPr/>
          <a:lstStyle/>
          <a:p>
            <a:r>
              <a:rPr lang="en-US" dirty="0"/>
              <a:t>Lagged variables, Decay Factor and Half life</a:t>
            </a:r>
          </a:p>
        </p:txBody>
      </p:sp>
      <p:sp>
        <p:nvSpPr>
          <p:cNvPr id="3" name="Slide Number Placeholder 2">
            <a:extLst>
              <a:ext uri="{FF2B5EF4-FFF2-40B4-BE49-F238E27FC236}">
                <a16:creationId xmlns:a16="http://schemas.microsoft.com/office/drawing/2014/main" id="{F8799D4B-9A8B-58BF-D4B1-D95519567621}"/>
              </a:ext>
            </a:extLst>
          </p:cNvPr>
          <p:cNvSpPr>
            <a:spLocks noGrp="1"/>
          </p:cNvSpPr>
          <p:nvPr>
            <p:ph type="sldNum" sz="quarter" idx="12"/>
          </p:nvPr>
        </p:nvSpPr>
        <p:spPr/>
        <p:txBody>
          <a:bodyPr/>
          <a:lstStyle/>
          <a:p>
            <a:fld id="{29CC380D-5F44-41E8-971E-CDD19ED6F8E3}" type="slidenum">
              <a:rPr lang="en-GB" smtClean="0"/>
              <a:t>5</a:t>
            </a:fld>
            <a:endParaRPr lang="en-GB"/>
          </a:p>
        </p:txBody>
      </p:sp>
      <p:graphicFrame>
        <p:nvGraphicFramePr>
          <p:cNvPr id="6" name="Table 5">
            <a:extLst>
              <a:ext uri="{FF2B5EF4-FFF2-40B4-BE49-F238E27FC236}">
                <a16:creationId xmlns:a16="http://schemas.microsoft.com/office/drawing/2014/main" id="{58399586-D8C3-631E-C09F-BF5FA40A6671}"/>
              </a:ext>
            </a:extLst>
          </p:cNvPr>
          <p:cNvGraphicFramePr>
            <a:graphicFrameLocks noGrp="1"/>
          </p:cNvGraphicFramePr>
          <p:nvPr>
            <p:extLst>
              <p:ext uri="{D42A27DB-BD31-4B8C-83A1-F6EECF244321}">
                <p14:modId xmlns:p14="http://schemas.microsoft.com/office/powerpoint/2010/main" val="552703727"/>
              </p:ext>
            </p:extLst>
          </p:nvPr>
        </p:nvGraphicFramePr>
        <p:xfrm>
          <a:off x="6934068" y="1597743"/>
          <a:ext cx="4163421" cy="4080291"/>
        </p:xfrm>
        <a:graphic>
          <a:graphicData uri="http://schemas.openxmlformats.org/drawingml/2006/table">
            <a:tbl>
              <a:tblPr/>
              <a:tblGrid>
                <a:gridCol w="2010473">
                  <a:extLst>
                    <a:ext uri="{9D8B030D-6E8A-4147-A177-3AD203B41FA5}">
                      <a16:colId xmlns:a16="http://schemas.microsoft.com/office/drawing/2014/main" val="2095894335"/>
                    </a:ext>
                  </a:extLst>
                </a:gridCol>
                <a:gridCol w="2152948">
                  <a:extLst>
                    <a:ext uri="{9D8B030D-6E8A-4147-A177-3AD203B41FA5}">
                      <a16:colId xmlns:a16="http://schemas.microsoft.com/office/drawing/2014/main" val="1170587838"/>
                    </a:ext>
                  </a:extLst>
                </a:gridCol>
              </a:tblGrid>
              <a:tr h="398479">
                <a:tc>
                  <a:txBody>
                    <a:bodyPr/>
                    <a:lstStyle/>
                    <a:p>
                      <a:pPr algn="ctr" fontAlgn="b"/>
                      <a:r>
                        <a:rPr lang="en-US" sz="1100" b="1" i="0" u="none" strike="noStrike" dirty="0">
                          <a:solidFill>
                            <a:srgbClr val="000000"/>
                          </a:solidFill>
                          <a:effectLst/>
                          <a:latin typeface="+mj-lt"/>
                        </a:rPr>
                        <a:t>Decay Rat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mj-lt"/>
                        </a:rPr>
                        <a:t>Monthly Half – Lif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019635"/>
                  </a:ext>
                </a:extLst>
              </a:tr>
              <a:tr h="330426">
                <a:tc>
                  <a:txBody>
                    <a:bodyPr/>
                    <a:lstStyle/>
                    <a:p>
                      <a:pPr algn="ctr" fontAlgn="b"/>
                      <a:r>
                        <a:rPr lang="en-US" sz="1100" b="0" i="0" u="none" strike="noStrike" dirty="0">
                          <a:solidFill>
                            <a:srgbClr val="000000"/>
                          </a:solidFill>
                          <a:effectLst/>
                          <a:latin typeface="+mj-lt"/>
                        </a:rPr>
                        <a:t>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1599951"/>
                  </a:ext>
                </a:extLst>
              </a:tr>
              <a:tr h="330426">
                <a:tc>
                  <a:txBody>
                    <a:bodyPr/>
                    <a:lstStyle/>
                    <a:p>
                      <a:pPr algn="ctr" fontAlgn="b"/>
                      <a:r>
                        <a:rPr lang="en-US" sz="1100" b="0" i="0" u="none" strike="noStrike" dirty="0">
                          <a:solidFill>
                            <a:srgbClr val="000000"/>
                          </a:solidFill>
                          <a:effectLst/>
                          <a:latin typeface="+mj-lt"/>
                        </a:rPr>
                        <a:t>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mj-lt"/>
                        </a:rPr>
                        <a:t>0.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5923489"/>
                  </a:ext>
                </a:extLst>
              </a:tr>
              <a:tr h="377552">
                <a:tc>
                  <a:txBody>
                    <a:bodyPr/>
                    <a:lstStyle/>
                    <a:p>
                      <a:pPr algn="ctr" fontAlgn="b"/>
                      <a:r>
                        <a:rPr lang="en-US" sz="1100" b="0" i="0" u="none" strike="noStrike" dirty="0">
                          <a:solidFill>
                            <a:srgbClr val="000000"/>
                          </a:solidFill>
                          <a:effectLst/>
                          <a:latin typeface="+mj-lt"/>
                        </a:rPr>
                        <a:t>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mj-lt"/>
                        </a:rPr>
                        <a:t>0.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59113870"/>
                  </a:ext>
                </a:extLst>
              </a:tr>
              <a:tr h="330426">
                <a:tc>
                  <a:txBody>
                    <a:bodyPr/>
                    <a:lstStyle/>
                    <a:p>
                      <a:pPr algn="ctr" fontAlgn="b"/>
                      <a:r>
                        <a:rPr lang="en-US" sz="1100" b="0" i="0" u="none" strike="noStrike" dirty="0">
                          <a:solidFill>
                            <a:srgbClr val="000000"/>
                          </a:solidFill>
                          <a:effectLst/>
                          <a:latin typeface="+mj-lt"/>
                        </a:rPr>
                        <a:t>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0.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7926844"/>
                  </a:ext>
                </a:extLst>
              </a:tr>
              <a:tr h="330426">
                <a:tc>
                  <a:txBody>
                    <a:bodyPr/>
                    <a:lstStyle/>
                    <a:p>
                      <a:pPr algn="ctr" fontAlgn="b"/>
                      <a:r>
                        <a:rPr lang="en-US" sz="1100" b="0" i="0" u="none" strike="noStrike" dirty="0">
                          <a:solidFill>
                            <a:srgbClr val="000000"/>
                          </a:solidFill>
                          <a:effectLst/>
                          <a:latin typeface="+mj-lt"/>
                        </a:rPr>
                        <a:t>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3050605"/>
                  </a:ext>
                </a:extLst>
              </a:tr>
              <a:tr h="330426">
                <a:tc>
                  <a:txBody>
                    <a:bodyPr/>
                    <a:lstStyle/>
                    <a:p>
                      <a:pPr algn="ctr" fontAlgn="b"/>
                      <a:r>
                        <a:rPr lang="en-US" sz="1100" b="0" i="0" u="none" strike="noStrike" dirty="0">
                          <a:solidFill>
                            <a:srgbClr val="000000"/>
                          </a:solidFill>
                          <a:effectLst/>
                          <a:latin typeface="+mj-lt"/>
                        </a:rPr>
                        <a:t>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9706087"/>
                  </a:ext>
                </a:extLst>
              </a:tr>
              <a:tr h="330426">
                <a:tc>
                  <a:txBody>
                    <a:bodyPr/>
                    <a:lstStyle/>
                    <a:p>
                      <a:pPr algn="ctr" fontAlgn="b"/>
                      <a:r>
                        <a:rPr lang="en-US" sz="1100" b="0" i="0" u="none" strike="noStrike">
                          <a:solidFill>
                            <a:srgbClr val="000000"/>
                          </a:solidFill>
                          <a:effectLst/>
                          <a:latin typeface="+mj-lt"/>
                        </a:rPr>
                        <a:t>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1.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7370576"/>
                  </a:ext>
                </a:extLst>
              </a:tr>
              <a:tr h="330426">
                <a:tc>
                  <a:txBody>
                    <a:bodyPr/>
                    <a:lstStyle/>
                    <a:p>
                      <a:pPr algn="ctr" fontAlgn="b"/>
                      <a:r>
                        <a:rPr lang="en-US" sz="1100" b="0" i="0" u="none" strike="noStrike">
                          <a:solidFill>
                            <a:srgbClr val="000000"/>
                          </a:solidFill>
                          <a:effectLst/>
                          <a:latin typeface="+mj-lt"/>
                        </a:rPr>
                        <a:t>0.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57811555"/>
                  </a:ext>
                </a:extLst>
              </a:tr>
              <a:tr h="330426">
                <a:tc>
                  <a:txBody>
                    <a:bodyPr/>
                    <a:lstStyle/>
                    <a:p>
                      <a:pPr algn="ctr" fontAlgn="b"/>
                      <a:r>
                        <a:rPr lang="en-US" sz="1100" b="0" i="0" u="none" strike="noStrike">
                          <a:solidFill>
                            <a:srgbClr val="000000"/>
                          </a:solidFill>
                          <a:effectLst/>
                          <a:latin typeface="+mj-lt"/>
                        </a:rPr>
                        <a:t>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2350114"/>
                  </a:ext>
                </a:extLst>
              </a:tr>
              <a:tr h="330426">
                <a:tc>
                  <a:txBody>
                    <a:bodyPr/>
                    <a:lstStyle/>
                    <a:p>
                      <a:pPr algn="ctr" fontAlgn="b"/>
                      <a:r>
                        <a:rPr lang="en-US" sz="1100" b="0" i="0" u="none" strike="noStrike">
                          <a:solidFill>
                            <a:srgbClr val="000000"/>
                          </a:solidFill>
                          <a:effectLst/>
                          <a:latin typeface="+mj-lt"/>
                        </a:rPr>
                        <a:t>0.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4.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1383960"/>
                  </a:ext>
                </a:extLst>
              </a:tr>
              <a:tr h="330426">
                <a:tc>
                  <a:txBody>
                    <a:bodyPr/>
                    <a:lstStyle/>
                    <a:p>
                      <a:pPr algn="ctr" fontAlgn="b"/>
                      <a:r>
                        <a:rPr lang="en-US" sz="1100" b="0" i="0" u="none" strike="noStrike" dirty="0">
                          <a:solidFill>
                            <a:srgbClr val="000000"/>
                          </a:solidFill>
                          <a:effectLst/>
                          <a:latin typeface="+mj-lt"/>
                        </a:rPr>
                        <a:t>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6.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75562029"/>
                  </a:ext>
                </a:extLst>
              </a:tr>
            </a:tbl>
          </a:graphicData>
        </a:graphic>
      </p:graphicFrame>
      <p:sp>
        <p:nvSpPr>
          <p:cNvPr id="7" name="TextBox 6">
            <a:extLst>
              <a:ext uri="{FF2B5EF4-FFF2-40B4-BE49-F238E27FC236}">
                <a16:creationId xmlns:a16="http://schemas.microsoft.com/office/drawing/2014/main" id="{CB13EA5C-266D-C3BC-F0C2-2603C0863BEE}"/>
              </a:ext>
            </a:extLst>
          </p:cNvPr>
          <p:cNvSpPr txBox="1"/>
          <p:nvPr/>
        </p:nvSpPr>
        <p:spPr>
          <a:xfrm>
            <a:off x="568036" y="6269520"/>
            <a:ext cx="3491346" cy="318655"/>
          </a:xfrm>
          <a:prstGeom prst="rect">
            <a:avLst/>
          </a:prstGeom>
          <a:noFill/>
        </p:spPr>
        <p:txBody>
          <a:bodyPr wrap="square" lIns="0" tIns="0" rIns="0" bIns="0" rtlCol="0" anchor="ctr">
            <a:noAutofit/>
          </a:bodyPr>
          <a:lstStyle/>
          <a:p>
            <a:pPr algn="ctr"/>
            <a:r>
              <a:rPr lang="en-US" sz="1050" dirty="0"/>
              <a:t>*Half – Life = ln(0.5)/ln(decay factor)</a:t>
            </a:r>
          </a:p>
        </p:txBody>
      </p:sp>
      <p:graphicFrame>
        <p:nvGraphicFramePr>
          <p:cNvPr id="4" name="Table 3">
            <a:extLst>
              <a:ext uri="{FF2B5EF4-FFF2-40B4-BE49-F238E27FC236}">
                <a16:creationId xmlns:a16="http://schemas.microsoft.com/office/drawing/2014/main" id="{03FFFC7B-3E75-BACA-CAC9-B403A42FB03C}"/>
              </a:ext>
            </a:extLst>
          </p:cNvPr>
          <p:cNvGraphicFramePr>
            <a:graphicFrameLocks noGrp="1"/>
          </p:cNvGraphicFramePr>
          <p:nvPr>
            <p:extLst>
              <p:ext uri="{D42A27DB-BD31-4B8C-83A1-F6EECF244321}">
                <p14:modId xmlns:p14="http://schemas.microsoft.com/office/powerpoint/2010/main" val="1227782124"/>
              </p:ext>
            </p:extLst>
          </p:nvPr>
        </p:nvGraphicFramePr>
        <p:xfrm>
          <a:off x="790286" y="1597742"/>
          <a:ext cx="4163422" cy="4410717"/>
        </p:xfrm>
        <a:graphic>
          <a:graphicData uri="http://schemas.openxmlformats.org/drawingml/2006/table">
            <a:tbl>
              <a:tblPr/>
              <a:tblGrid>
                <a:gridCol w="1355781">
                  <a:extLst>
                    <a:ext uri="{9D8B030D-6E8A-4147-A177-3AD203B41FA5}">
                      <a16:colId xmlns:a16="http://schemas.microsoft.com/office/drawing/2014/main" val="1830994158"/>
                    </a:ext>
                  </a:extLst>
                </a:gridCol>
                <a:gridCol w="1355781">
                  <a:extLst>
                    <a:ext uri="{9D8B030D-6E8A-4147-A177-3AD203B41FA5}">
                      <a16:colId xmlns:a16="http://schemas.microsoft.com/office/drawing/2014/main" val="2812052282"/>
                    </a:ext>
                  </a:extLst>
                </a:gridCol>
                <a:gridCol w="1451860">
                  <a:extLst>
                    <a:ext uri="{9D8B030D-6E8A-4147-A177-3AD203B41FA5}">
                      <a16:colId xmlns:a16="http://schemas.microsoft.com/office/drawing/2014/main" val="3176515225"/>
                    </a:ext>
                  </a:extLst>
                </a:gridCol>
              </a:tblGrid>
              <a:tr h="398479">
                <a:tc>
                  <a:txBody>
                    <a:bodyPr/>
                    <a:lstStyle/>
                    <a:p>
                      <a:pPr algn="ctr" fontAlgn="b"/>
                      <a:r>
                        <a:rPr lang="en-US" sz="1100" b="1" i="0" u="none" strike="noStrike" dirty="0">
                          <a:solidFill>
                            <a:srgbClr val="000000"/>
                          </a:solidFill>
                          <a:effectLst/>
                          <a:latin typeface="+mj-lt"/>
                        </a:rPr>
                        <a:t>Mont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mj-lt"/>
                        </a:rPr>
                        <a:t>Dos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mj-lt"/>
                        </a:rPr>
                        <a:t>Lagged Dos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5232412"/>
                  </a:ext>
                </a:extLst>
              </a:tr>
              <a:tr h="330426">
                <a:tc>
                  <a:txBody>
                    <a:bodyPr/>
                    <a:lstStyle/>
                    <a:p>
                      <a:pPr algn="ctr" fontAlgn="b"/>
                      <a:r>
                        <a:rPr lang="en-US" sz="1100" b="0" i="0" u="none" strike="noStrike" dirty="0">
                          <a:solidFill>
                            <a:srgbClr val="000000"/>
                          </a:solidFill>
                          <a:effectLst/>
                          <a:latin typeface="+mj-lt"/>
                        </a:rPr>
                        <a:t>Jan’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Invention" panose="020B0503020008020204" pitchFamily="34" charset="0"/>
                        </a:rPr>
                        <a:t>2,67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mj-lt"/>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63315365"/>
                  </a:ext>
                </a:extLst>
              </a:tr>
              <a:tr h="330426">
                <a:tc>
                  <a:txBody>
                    <a:bodyPr/>
                    <a:lstStyle/>
                    <a:p>
                      <a:pPr algn="ctr" fontAlgn="b"/>
                      <a:r>
                        <a:rPr lang="en-US" sz="1100" b="0" i="0" u="none" strike="noStrike" dirty="0">
                          <a:solidFill>
                            <a:srgbClr val="000000"/>
                          </a:solidFill>
                          <a:effectLst/>
                          <a:latin typeface="+mj-lt"/>
                        </a:rPr>
                        <a:t>Feb’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1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Invention" panose="020B0503020008020204" pitchFamily="34" charset="0"/>
                        </a:rPr>
                        <a:t>2,67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22490766"/>
                  </a:ext>
                </a:extLst>
              </a:tr>
              <a:tr h="377552">
                <a:tc>
                  <a:txBody>
                    <a:bodyPr/>
                    <a:lstStyle/>
                    <a:p>
                      <a:pPr algn="ctr" fontAlgn="b"/>
                      <a:r>
                        <a:rPr lang="en-US" sz="1100" b="0" i="0" u="none" strike="noStrike" dirty="0">
                          <a:solidFill>
                            <a:srgbClr val="000000"/>
                          </a:solidFill>
                          <a:effectLst/>
                          <a:latin typeface="+mj-lt"/>
                        </a:rPr>
                        <a:t>Mar’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6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1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82653634"/>
                  </a:ext>
                </a:extLst>
              </a:tr>
              <a:tr h="330426">
                <a:tc>
                  <a:txBody>
                    <a:bodyPr/>
                    <a:lstStyle/>
                    <a:p>
                      <a:pPr algn="ctr" fontAlgn="b"/>
                      <a:r>
                        <a:rPr lang="en-US" sz="1100" b="0" i="0" u="none" strike="noStrike" dirty="0">
                          <a:solidFill>
                            <a:srgbClr val="000000"/>
                          </a:solidFill>
                          <a:effectLst/>
                          <a:latin typeface="+mj-lt"/>
                        </a:rPr>
                        <a:t>Apr’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Invention" panose="020B0503020008020204" pitchFamily="34" charset="0"/>
                        </a:rPr>
                        <a:t>2,7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6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46708"/>
                  </a:ext>
                </a:extLst>
              </a:tr>
              <a:tr h="330426">
                <a:tc>
                  <a:txBody>
                    <a:bodyPr/>
                    <a:lstStyle/>
                    <a:p>
                      <a:pPr algn="ctr" fontAlgn="b"/>
                      <a:r>
                        <a:rPr lang="en-US" sz="1100" b="0" i="0" u="none" strike="noStrike" dirty="0">
                          <a:solidFill>
                            <a:srgbClr val="000000"/>
                          </a:solidFill>
                          <a:effectLst/>
                          <a:latin typeface="+mj-lt"/>
                        </a:rPr>
                        <a:t>May’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3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7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6202204"/>
                  </a:ext>
                </a:extLst>
              </a:tr>
              <a:tr h="330426">
                <a:tc>
                  <a:txBody>
                    <a:bodyPr/>
                    <a:lstStyle/>
                    <a:p>
                      <a:pPr algn="ctr" fontAlgn="b"/>
                      <a:r>
                        <a:rPr lang="en-US" sz="1100" b="0" i="0" u="none" strike="noStrike" dirty="0">
                          <a:solidFill>
                            <a:srgbClr val="000000"/>
                          </a:solidFill>
                          <a:effectLst/>
                          <a:latin typeface="+mj-lt"/>
                        </a:rPr>
                        <a:t>June’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4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3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39335437"/>
                  </a:ext>
                </a:extLst>
              </a:tr>
              <a:tr h="330426">
                <a:tc>
                  <a:txBody>
                    <a:bodyPr/>
                    <a:lstStyle/>
                    <a:p>
                      <a:pPr algn="ctr" fontAlgn="b"/>
                      <a:r>
                        <a:rPr lang="en-US" sz="1100" b="0" i="0" u="none" strike="noStrike" dirty="0">
                          <a:solidFill>
                            <a:srgbClr val="000000"/>
                          </a:solidFill>
                          <a:effectLst/>
                          <a:latin typeface="+mj-lt"/>
                        </a:rPr>
                        <a:t>July’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1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4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1885944"/>
                  </a:ext>
                </a:extLst>
              </a:tr>
              <a:tr h="330426">
                <a:tc>
                  <a:txBody>
                    <a:bodyPr/>
                    <a:lstStyle/>
                    <a:p>
                      <a:pPr algn="ctr" fontAlgn="b"/>
                      <a:r>
                        <a:rPr lang="en-US" sz="1100" b="0" i="0" u="none" strike="noStrike" dirty="0">
                          <a:solidFill>
                            <a:srgbClr val="000000"/>
                          </a:solidFill>
                          <a:effectLst/>
                          <a:latin typeface="+mj-lt"/>
                        </a:rPr>
                        <a:t>Aug’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75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1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51267003"/>
                  </a:ext>
                </a:extLst>
              </a:tr>
              <a:tr h="330426">
                <a:tc>
                  <a:txBody>
                    <a:bodyPr/>
                    <a:lstStyle/>
                    <a:p>
                      <a:pPr algn="ctr" fontAlgn="b"/>
                      <a:r>
                        <a:rPr lang="en-US" sz="1100" b="0" i="0" u="none" strike="noStrike" dirty="0">
                          <a:solidFill>
                            <a:srgbClr val="000000"/>
                          </a:solidFill>
                          <a:effectLst/>
                          <a:latin typeface="+mj-lt"/>
                        </a:rPr>
                        <a:t>Sept’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4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75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437925"/>
                  </a:ext>
                </a:extLst>
              </a:tr>
              <a:tr h="330426">
                <a:tc>
                  <a:txBody>
                    <a:bodyPr/>
                    <a:lstStyle/>
                    <a:p>
                      <a:pPr algn="ctr" fontAlgn="b"/>
                      <a:r>
                        <a:rPr lang="en-US" sz="1100" b="0" i="0" u="none" strike="noStrike" dirty="0">
                          <a:solidFill>
                            <a:srgbClr val="000000"/>
                          </a:solidFill>
                          <a:effectLst/>
                          <a:latin typeface="+mj-lt"/>
                        </a:rPr>
                        <a:t>Oct’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2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4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3296028"/>
                  </a:ext>
                </a:extLst>
              </a:tr>
              <a:tr h="330426">
                <a:tc>
                  <a:txBody>
                    <a:bodyPr/>
                    <a:lstStyle/>
                    <a:p>
                      <a:pPr algn="ctr" fontAlgn="b"/>
                      <a:r>
                        <a:rPr lang="en-US" sz="1100" b="0" i="0" u="none" strike="noStrike" dirty="0">
                          <a:solidFill>
                            <a:srgbClr val="000000"/>
                          </a:solidFill>
                          <a:effectLst/>
                          <a:latin typeface="+mj-lt"/>
                        </a:rPr>
                        <a:t>Nov’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1,9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Invention" panose="020B0503020008020204" pitchFamily="34" charset="0"/>
                        </a:rPr>
                        <a:t>2,2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60885105"/>
                  </a:ext>
                </a:extLst>
              </a:tr>
              <a:tr h="330426">
                <a:tc>
                  <a:txBody>
                    <a:bodyPr/>
                    <a:lstStyle/>
                    <a:p>
                      <a:pPr algn="ctr" fontAlgn="b"/>
                      <a:r>
                        <a:rPr lang="en-US" sz="1100" b="0" i="0" u="none" strike="noStrike" dirty="0">
                          <a:solidFill>
                            <a:srgbClr val="000000"/>
                          </a:solidFill>
                          <a:effectLst/>
                          <a:latin typeface="+mj-lt"/>
                        </a:rPr>
                        <a:t>Dec’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Invention" panose="020B0503020008020204" pitchFamily="34" charset="0"/>
                        </a:rPr>
                        <a:t>1,6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Invention" panose="020B0503020008020204" pitchFamily="34" charset="0"/>
                        </a:rPr>
                        <a:t>1,9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3750224"/>
                  </a:ext>
                </a:extLst>
              </a:tr>
            </a:tbl>
          </a:graphicData>
        </a:graphic>
      </p:graphicFrame>
    </p:spTree>
    <p:extLst>
      <p:ext uri="{BB962C8B-B14F-4D97-AF65-F5344CB8AC3E}">
        <p14:creationId xmlns:p14="http://schemas.microsoft.com/office/powerpoint/2010/main" val="8582442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8FD17-DAC7-EB3C-AE26-AB5EA841553E}"/>
              </a:ext>
            </a:extLst>
          </p:cNvPr>
          <p:cNvSpPr>
            <a:spLocks noGrp="1"/>
          </p:cNvSpPr>
          <p:nvPr>
            <p:ph type="title"/>
          </p:nvPr>
        </p:nvSpPr>
        <p:spPr/>
        <p:txBody>
          <a:bodyPr/>
          <a:lstStyle/>
          <a:p>
            <a:r>
              <a:rPr lang="en-US" dirty="0"/>
              <a:t>Exponential Decay and ‘N’ months decay</a:t>
            </a:r>
          </a:p>
        </p:txBody>
      </p:sp>
      <p:sp>
        <p:nvSpPr>
          <p:cNvPr id="3" name="Slide Number Placeholder 2">
            <a:extLst>
              <a:ext uri="{FF2B5EF4-FFF2-40B4-BE49-F238E27FC236}">
                <a16:creationId xmlns:a16="http://schemas.microsoft.com/office/drawing/2014/main" id="{94F1F448-27E1-4BF3-6C69-805FB762872B}"/>
              </a:ext>
            </a:extLst>
          </p:cNvPr>
          <p:cNvSpPr>
            <a:spLocks noGrp="1"/>
          </p:cNvSpPr>
          <p:nvPr>
            <p:ph type="sldNum" sz="quarter" idx="12"/>
          </p:nvPr>
        </p:nvSpPr>
        <p:spPr/>
        <p:txBody>
          <a:bodyPr/>
          <a:lstStyle/>
          <a:p>
            <a:fld id="{29CC380D-5F44-41E8-971E-CDD19ED6F8E3}" type="slidenum">
              <a:rPr lang="en-GB" smtClean="0"/>
              <a:t>6</a:t>
            </a:fld>
            <a:endParaRPr lang="en-GB"/>
          </a:p>
        </p:txBody>
      </p:sp>
      <p:graphicFrame>
        <p:nvGraphicFramePr>
          <p:cNvPr id="6" name="Table 5">
            <a:extLst>
              <a:ext uri="{FF2B5EF4-FFF2-40B4-BE49-F238E27FC236}">
                <a16:creationId xmlns:a16="http://schemas.microsoft.com/office/drawing/2014/main" id="{C4FF83B0-AB27-14D4-1B60-6DCB7C83A221}"/>
              </a:ext>
            </a:extLst>
          </p:cNvPr>
          <p:cNvGraphicFramePr>
            <a:graphicFrameLocks noGrp="1"/>
          </p:cNvGraphicFramePr>
          <p:nvPr>
            <p:extLst>
              <p:ext uri="{D42A27DB-BD31-4B8C-83A1-F6EECF244321}">
                <p14:modId xmlns:p14="http://schemas.microsoft.com/office/powerpoint/2010/main" val="354899639"/>
              </p:ext>
            </p:extLst>
          </p:nvPr>
        </p:nvGraphicFramePr>
        <p:xfrm>
          <a:off x="460954" y="1450146"/>
          <a:ext cx="11206918" cy="4993661"/>
        </p:xfrm>
        <a:graphic>
          <a:graphicData uri="http://schemas.openxmlformats.org/drawingml/2006/table">
            <a:tbl>
              <a:tblPr/>
              <a:tblGrid>
                <a:gridCol w="836782">
                  <a:extLst>
                    <a:ext uri="{9D8B030D-6E8A-4147-A177-3AD203B41FA5}">
                      <a16:colId xmlns:a16="http://schemas.microsoft.com/office/drawing/2014/main" val="3695914412"/>
                    </a:ext>
                  </a:extLst>
                </a:gridCol>
                <a:gridCol w="956323">
                  <a:extLst>
                    <a:ext uri="{9D8B030D-6E8A-4147-A177-3AD203B41FA5}">
                      <a16:colId xmlns:a16="http://schemas.microsoft.com/office/drawing/2014/main" val="1597557228"/>
                    </a:ext>
                  </a:extLst>
                </a:gridCol>
                <a:gridCol w="956323">
                  <a:extLst>
                    <a:ext uri="{9D8B030D-6E8A-4147-A177-3AD203B41FA5}">
                      <a16:colId xmlns:a16="http://schemas.microsoft.com/office/drawing/2014/main" val="2237339723"/>
                    </a:ext>
                  </a:extLst>
                </a:gridCol>
                <a:gridCol w="1584356">
                  <a:extLst>
                    <a:ext uri="{9D8B030D-6E8A-4147-A177-3AD203B41FA5}">
                      <a16:colId xmlns:a16="http://schemas.microsoft.com/office/drawing/2014/main" val="4129481647"/>
                    </a:ext>
                  </a:extLst>
                </a:gridCol>
                <a:gridCol w="2330594">
                  <a:extLst>
                    <a:ext uri="{9D8B030D-6E8A-4147-A177-3AD203B41FA5}">
                      <a16:colId xmlns:a16="http://schemas.microsoft.com/office/drawing/2014/main" val="4090659389"/>
                    </a:ext>
                  </a:extLst>
                </a:gridCol>
                <a:gridCol w="2271270">
                  <a:extLst>
                    <a:ext uri="{9D8B030D-6E8A-4147-A177-3AD203B41FA5}">
                      <a16:colId xmlns:a16="http://schemas.microsoft.com/office/drawing/2014/main" val="1438137702"/>
                    </a:ext>
                  </a:extLst>
                </a:gridCol>
                <a:gridCol w="2271270">
                  <a:extLst>
                    <a:ext uri="{9D8B030D-6E8A-4147-A177-3AD203B41FA5}">
                      <a16:colId xmlns:a16="http://schemas.microsoft.com/office/drawing/2014/main" val="3327965442"/>
                    </a:ext>
                  </a:extLst>
                </a:gridCol>
              </a:tblGrid>
              <a:tr h="369546">
                <a:tc>
                  <a:txBody>
                    <a:bodyPr/>
                    <a:lstStyle/>
                    <a:p>
                      <a:pPr algn="ctr" fontAlgn="ctr"/>
                      <a:r>
                        <a:rPr lang="en-US" sz="1400" b="1" i="0" u="none" strike="noStrike" dirty="0">
                          <a:solidFill>
                            <a:srgbClr val="000000"/>
                          </a:solidFill>
                          <a:effectLst/>
                          <a:latin typeface="+mn-lt"/>
                        </a:rPr>
                        <a:t>Zip cd</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1400" b="1" i="0" u="none" strike="noStrike">
                          <a:solidFill>
                            <a:srgbClr val="000000"/>
                          </a:solidFill>
                          <a:effectLst/>
                          <a:latin typeface="+mn-lt"/>
                        </a:rPr>
                        <a:t>Yearmo</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1400" b="1" i="0" u="none" strike="noStrike" dirty="0">
                          <a:solidFill>
                            <a:srgbClr val="000000"/>
                          </a:solidFill>
                          <a:effectLst/>
                          <a:latin typeface="+mn-lt"/>
                        </a:rPr>
                        <a:t># </a:t>
                      </a:r>
                      <a:r>
                        <a:rPr lang="en-US" sz="1400" b="1" i="0" u="none" strike="noStrike" dirty="0" err="1">
                          <a:solidFill>
                            <a:srgbClr val="000000"/>
                          </a:solidFill>
                          <a:effectLst/>
                          <a:latin typeface="+mn-lt"/>
                        </a:rPr>
                        <a:t>Engs</a:t>
                      </a:r>
                      <a:r>
                        <a:rPr lang="en-US" sz="1400" b="1" i="0" u="none" strike="noStrike" dirty="0">
                          <a:solidFill>
                            <a:srgbClr val="000000"/>
                          </a:solidFill>
                          <a:effectLst/>
                          <a:latin typeface="+mn-lt"/>
                        </a:rPr>
                        <a:t> (x</a:t>
                      </a:r>
                      <a:r>
                        <a:rPr lang="en-US" sz="1400" b="1" i="0" u="none" strike="noStrike" baseline="-25000" dirty="0">
                          <a:solidFill>
                            <a:srgbClr val="000000"/>
                          </a:solidFill>
                          <a:effectLst/>
                          <a:latin typeface="+mn-lt"/>
                        </a:rPr>
                        <a:t>i</a:t>
                      </a:r>
                      <a:r>
                        <a:rPr lang="en-US" sz="1400" b="1" i="0" u="none" strike="noStrike" dirty="0">
                          <a:solidFill>
                            <a:srgbClr val="000000"/>
                          </a:solidFill>
                          <a:effectLst/>
                          <a:latin typeface="+mn-lt"/>
                        </a:rPr>
                        <a:t>)</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1400" b="1" i="0" u="none" strike="noStrike" dirty="0">
                          <a:solidFill>
                            <a:srgbClr val="000000"/>
                          </a:solidFill>
                          <a:effectLst/>
                          <a:latin typeface="+mn-lt"/>
                        </a:rPr>
                        <a:t>‘2’ Month lag</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fontAlgn="ctr"/>
                      <a:r>
                        <a:rPr lang="en-US" sz="1400" b="1" i="0" u="none" strike="noStrike" dirty="0">
                          <a:solidFill>
                            <a:srgbClr val="000000"/>
                          </a:solidFill>
                          <a:effectLst/>
                          <a:latin typeface="+mn-lt"/>
                        </a:rPr>
                        <a:t>Formula</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1400" b="1" i="0" u="none" strike="noStrike" dirty="0">
                          <a:solidFill>
                            <a:srgbClr val="000000"/>
                          </a:solidFill>
                          <a:effectLst/>
                          <a:latin typeface="+mn-lt"/>
                        </a:rPr>
                        <a:t>Exponential Decay</a:t>
                      </a:r>
                    </a:p>
                    <a:p>
                      <a:pPr algn="ctr" fontAlgn="ctr"/>
                      <a:r>
                        <a:rPr lang="en-US" sz="1400" b="1" i="0" u="none" strike="noStrike" dirty="0">
                          <a:solidFill>
                            <a:srgbClr val="000000"/>
                          </a:solidFill>
                          <a:effectLst/>
                          <a:latin typeface="+mn-lt"/>
                        </a:rPr>
                        <a:t> (x</a:t>
                      </a:r>
                      <a:r>
                        <a:rPr lang="en-US" sz="1400" b="1" i="0" u="none" strike="noStrike" baseline="-25000" dirty="0">
                          <a:solidFill>
                            <a:srgbClr val="000000"/>
                          </a:solidFill>
                          <a:effectLst/>
                          <a:latin typeface="+mn-lt"/>
                        </a:rPr>
                        <a:t>i</a:t>
                      </a:r>
                      <a:r>
                        <a:rPr lang="en-US" sz="1400" b="1" i="0" u="none" strike="noStrike" dirty="0">
                          <a:solidFill>
                            <a:srgbClr val="000000"/>
                          </a:solidFill>
                          <a:effectLst/>
                          <a:latin typeface="+mn-lt"/>
                        </a:rPr>
                        <a:t> adstocked)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rowSpan="2">
                  <a:txBody>
                    <a:bodyPr/>
                    <a:lstStyle/>
                    <a:p>
                      <a:pPr algn="ctr" fontAlgn="ctr"/>
                      <a:r>
                        <a:rPr lang="en-US" sz="1400" b="1" i="0" u="none" strike="noStrike" dirty="0">
                          <a:solidFill>
                            <a:srgbClr val="000000"/>
                          </a:solidFill>
                          <a:effectLst/>
                          <a:latin typeface="+mn-lt"/>
                        </a:rPr>
                        <a:t>Formula</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540673189"/>
                  </a:ext>
                </a:extLst>
              </a:tr>
              <a:tr h="369546">
                <a:tc>
                  <a:txBody>
                    <a:bodyPr/>
                    <a:lstStyle/>
                    <a:p>
                      <a:pPr algn="ctr" fontAlgn="ctr"/>
                      <a:r>
                        <a:rPr lang="en-US" sz="1400" b="1" i="0" u="none" strike="noStrike" dirty="0">
                          <a:solidFill>
                            <a:srgbClr val="000000"/>
                          </a:solidFill>
                          <a:effectLst/>
                          <a:latin typeface="+mn-lt"/>
                        </a:rPr>
                        <a:t>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mn-lt"/>
                        </a:rPr>
                        <a:t>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0" i="0" u="none" strike="noStrike">
                          <a:solidFill>
                            <a:srgbClr val="000000"/>
                          </a:solidFill>
                          <a:effectLst/>
                          <a:latin typeface="+mn-lt"/>
                        </a:rPr>
                        <a:t>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i="0" u="none" strike="noStrike" dirty="0">
                          <a:solidFill>
                            <a:srgbClr val="000000"/>
                          </a:solidFill>
                          <a:effectLst/>
                          <a:latin typeface="+mn-lt"/>
                        </a:rPr>
                        <a:t>0.5</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fontAlgn="ctr"/>
                      <a:endParaRPr lang="en-US" sz="1100" b="0" i="0" u="none" strike="noStrike" dirty="0">
                        <a:solidFill>
                          <a:srgbClr val="000000"/>
                        </a:solidFill>
                        <a:effectLst/>
                        <a:latin typeface="Arial" panose="020B0604020202020204" pitchFamily="34" charset="0"/>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400" b="1" i="0" u="none" strike="noStrike" dirty="0">
                          <a:solidFill>
                            <a:srgbClr val="000000"/>
                          </a:solidFill>
                          <a:effectLst/>
                          <a:latin typeface="+mn-lt"/>
                        </a:rPr>
                        <a:t>0.5</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fontAlgn="ctr"/>
                      <a:endParaRPr lang="en-US" sz="1100" b="0" i="0" u="none" strike="noStrike" dirty="0">
                        <a:solidFill>
                          <a:srgbClr val="000000"/>
                        </a:solidFill>
                        <a:effectLst/>
                        <a:latin typeface="Arial" panose="020B0604020202020204" pitchFamily="34" charset="0"/>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210788599"/>
                  </a:ext>
                </a:extLst>
              </a:tr>
              <a:tr h="369546">
                <a:tc>
                  <a:txBody>
                    <a:bodyPr/>
                    <a:lstStyle/>
                    <a:p>
                      <a:pPr algn="ctr" fontAlgn="b"/>
                      <a:r>
                        <a:rPr lang="en-US" sz="1400" b="0" i="0" u="none" strike="noStrike" dirty="0">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Jan’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2</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2.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2212240"/>
                  </a:ext>
                </a:extLst>
              </a:tr>
              <a:tr h="369546">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Feb’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2</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3.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baseline="-25000" dirty="0">
                          <a:solidFill>
                            <a:srgbClr val="000000"/>
                          </a:solidFill>
                          <a:effectLst/>
                          <a:latin typeface="+mn-lt"/>
                        </a:rPr>
                        <a:t>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r>
                        <a:rPr lang="en-US" sz="1400" b="0" i="1" u="none" strike="noStrike" baseline="-25000" dirty="0">
                          <a:solidFill>
                            <a:srgbClr val="000000"/>
                          </a:solidFill>
                          <a:effectLst/>
                          <a:latin typeface="+mn-lt"/>
                        </a:rPr>
                        <a:t> </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2145423"/>
                  </a:ext>
                </a:extLst>
              </a:tr>
              <a:tr h="492718">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Mar’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3</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4.5</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0519601"/>
                  </a:ext>
                </a:extLst>
              </a:tr>
              <a:tr h="492718">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Apr’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2</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a:solidFill>
                            <a:srgbClr val="000000"/>
                          </a:solidFill>
                          <a:effectLst/>
                          <a:latin typeface="+mn-lt"/>
                          <a:cs typeface="Arial" panose="020B0604020202020204" pitchFamily="34" charset="0"/>
                        </a:rPr>
                        <a:t>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405221"/>
                  </a:ext>
                </a:extLst>
              </a:tr>
              <a:tr h="492718">
                <a:tc>
                  <a:txBody>
                    <a:bodyPr/>
                    <a:lstStyle/>
                    <a:p>
                      <a:pPr algn="ctr" fontAlgn="b"/>
                      <a:r>
                        <a:rPr lang="en-US" sz="1400" b="0" i="0" u="none" strike="noStrike" dirty="0">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May’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3</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4.8</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8820105"/>
                  </a:ext>
                </a:extLst>
              </a:tr>
              <a:tr h="492718">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June’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7</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9.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2270825"/>
                  </a:ext>
                </a:extLst>
              </a:tr>
              <a:tr h="492718">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July’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5</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9.3</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8616710"/>
                  </a:ext>
                </a:extLst>
              </a:tr>
              <a:tr h="492718">
                <a:tc>
                  <a:txBody>
                    <a:bodyPr/>
                    <a:lstStyle/>
                    <a:p>
                      <a:pPr algn="ctr" fontAlgn="b"/>
                      <a:r>
                        <a:rPr lang="en-US" sz="1400" b="0" i="0" u="none" strike="noStrike" dirty="0">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Aug’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1</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5.3</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075753"/>
                  </a:ext>
                </a:extLst>
              </a:tr>
              <a:tr h="492718">
                <a:tc>
                  <a:txBody>
                    <a:bodyPr/>
                    <a:lstStyle/>
                    <a:p>
                      <a:pPr algn="ctr" fontAlgn="b"/>
                      <a:r>
                        <a:rPr lang="en-US" sz="1400" b="0" i="0" u="none" strike="noStrike">
                          <a:solidFill>
                            <a:srgbClr val="000000"/>
                          </a:solidFill>
                          <a:effectLst/>
                          <a:latin typeface="+mn-lt"/>
                        </a:rPr>
                        <a:t>1040</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Sept’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3</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rPr>
                        <a:t>4.8</a:t>
                      </a: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a:t>
                      </a:r>
                      <a:r>
                        <a:rPr lang="en-US" sz="1400" b="0" i="1" u="none" strike="noStrike" baseline="0" dirty="0">
                          <a:solidFill>
                            <a:srgbClr val="000000"/>
                          </a:solidFill>
                          <a:effectLst/>
                          <a:latin typeface="+mn-lt"/>
                        </a:rPr>
                        <a:t>*0.5+</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2</a:t>
                      </a:r>
                      <a:r>
                        <a:rPr lang="en-US" sz="1400" b="0" i="1" u="none" strike="noStrike" baseline="0" dirty="0">
                          <a:solidFill>
                            <a:srgbClr val="000000"/>
                          </a:solidFill>
                          <a:effectLst/>
                          <a:latin typeface="+mn-lt"/>
                        </a:rPr>
                        <a:t>*0.5*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mn-lt"/>
                          <a:cs typeface="Arial" panose="020B0604020202020204" pitchFamily="34" charset="0"/>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a:t>
                      </a:r>
                      <a:r>
                        <a:rPr lang="en-US" sz="1400" b="0" i="1" u="none" strike="noStrike" baseline="0" dirty="0">
                          <a:solidFill>
                            <a:srgbClr val="000000"/>
                          </a:solidFill>
                          <a:effectLst/>
                          <a:latin typeface="+mn-lt"/>
                        </a:rPr>
                        <a:t>+</a:t>
                      </a:r>
                      <a:r>
                        <a:rPr lang="en-US" sz="1400" b="0" i="1" u="none" strike="noStrike" dirty="0">
                          <a:solidFill>
                            <a:srgbClr val="000000"/>
                          </a:solidFill>
                          <a:effectLst/>
                          <a:latin typeface="+mn-lt"/>
                        </a:rPr>
                        <a:t>x</a:t>
                      </a:r>
                      <a:r>
                        <a:rPr lang="en-US" sz="1400" b="0" i="1" u="none" strike="noStrike" baseline="-25000" dirty="0">
                          <a:solidFill>
                            <a:srgbClr val="000000"/>
                          </a:solidFill>
                          <a:effectLst/>
                          <a:latin typeface="+mn-lt"/>
                        </a:rPr>
                        <a:t>i-1 adstock</a:t>
                      </a:r>
                      <a:r>
                        <a:rPr lang="en-US" sz="1400" b="0" i="1" u="none" strike="noStrike" baseline="0" dirty="0">
                          <a:solidFill>
                            <a:srgbClr val="000000"/>
                          </a:solidFill>
                          <a:effectLst/>
                          <a:latin typeface="+mn-lt"/>
                        </a:rPr>
                        <a:t>*0.5</a:t>
                      </a:r>
                      <a:endParaRPr lang="en-US" sz="1400" b="0" i="1" u="none" strike="noStrike" dirty="0">
                        <a:solidFill>
                          <a:srgbClr val="000000"/>
                        </a:solidFill>
                        <a:effectLst/>
                        <a:latin typeface="+mn-lt"/>
                      </a:endParaRPr>
                    </a:p>
                  </a:txBody>
                  <a:tcPr marL="9277" marR="9277" marT="92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4972166"/>
                  </a:ext>
                </a:extLst>
              </a:tr>
            </a:tbl>
          </a:graphicData>
        </a:graphic>
      </p:graphicFrame>
    </p:spTree>
    <p:extLst>
      <p:ext uri="{BB962C8B-B14F-4D97-AF65-F5344CB8AC3E}">
        <p14:creationId xmlns:p14="http://schemas.microsoft.com/office/powerpoint/2010/main" val="180611613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B1FCB-2255-1DD2-3BD8-CAEDC8C1C52B}"/>
              </a:ext>
            </a:extLst>
          </p:cNvPr>
          <p:cNvSpPr>
            <a:spLocks noGrp="1"/>
          </p:cNvSpPr>
          <p:nvPr>
            <p:ph type="title"/>
          </p:nvPr>
        </p:nvSpPr>
        <p:spPr/>
        <p:txBody>
          <a:bodyPr/>
          <a:lstStyle/>
          <a:p>
            <a:r>
              <a:rPr lang="en-US" dirty="0"/>
              <a:t>Decay rates ranges for promotional channels </a:t>
            </a:r>
          </a:p>
        </p:txBody>
      </p:sp>
      <p:sp>
        <p:nvSpPr>
          <p:cNvPr id="3" name="Slide Number Placeholder 2">
            <a:extLst>
              <a:ext uri="{FF2B5EF4-FFF2-40B4-BE49-F238E27FC236}">
                <a16:creationId xmlns:a16="http://schemas.microsoft.com/office/drawing/2014/main" id="{E00CC018-6AB2-C2C5-F33C-CFFB80B7F677}"/>
              </a:ext>
            </a:extLst>
          </p:cNvPr>
          <p:cNvSpPr>
            <a:spLocks noGrp="1"/>
          </p:cNvSpPr>
          <p:nvPr>
            <p:ph type="sldNum" sz="quarter" idx="12"/>
          </p:nvPr>
        </p:nvSpPr>
        <p:spPr/>
        <p:txBody>
          <a:bodyPr/>
          <a:lstStyle/>
          <a:p>
            <a:fld id="{29CC380D-5F44-41E8-971E-CDD19ED6F8E3}" type="slidenum">
              <a:rPr lang="en-GB" smtClean="0"/>
              <a:t>7</a:t>
            </a:fld>
            <a:endParaRPr lang="en-GB"/>
          </a:p>
        </p:txBody>
      </p:sp>
      <p:graphicFrame>
        <p:nvGraphicFramePr>
          <p:cNvPr id="5" name="Table 4">
            <a:extLst>
              <a:ext uri="{FF2B5EF4-FFF2-40B4-BE49-F238E27FC236}">
                <a16:creationId xmlns:a16="http://schemas.microsoft.com/office/drawing/2014/main" id="{3F21BD63-1532-0F0F-85C5-5134D785937C}"/>
              </a:ext>
            </a:extLst>
          </p:cNvPr>
          <p:cNvGraphicFramePr>
            <a:graphicFrameLocks noGrp="1"/>
          </p:cNvGraphicFramePr>
          <p:nvPr>
            <p:extLst>
              <p:ext uri="{D42A27DB-BD31-4B8C-83A1-F6EECF244321}">
                <p14:modId xmlns:p14="http://schemas.microsoft.com/office/powerpoint/2010/main" val="432441287"/>
              </p:ext>
            </p:extLst>
          </p:nvPr>
        </p:nvGraphicFramePr>
        <p:xfrm>
          <a:off x="1552755" y="1293623"/>
          <a:ext cx="9100869" cy="5234139"/>
        </p:xfrm>
        <a:graphic>
          <a:graphicData uri="http://schemas.openxmlformats.org/drawingml/2006/table">
            <a:tbl>
              <a:tblPr/>
              <a:tblGrid>
                <a:gridCol w="3033623">
                  <a:extLst>
                    <a:ext uri="{9D8B030D-6E8A-4147-A177-3AD203B41FA5}">
                      <a16:colId xmlns:a16="http://schemas.microsoft.com/office/drawing/2014/main" val="2959852677"/>
                    </a:ext>
                  </a:extLst>
                </a:gridCol>
                <a:gridCol w="3033623">
                  <a:extLst>
                    <a:ext uri="{9D8B030D-6E8A-4147-A177-3AD203B41FA5}">
                      <a16:colId xmlns:a16="http://schemas.microsoft.com/office/drawing/2014/main" val="3861040096"/>
                    </a:ext>
                  </a:extLst>
                </a:gridCol>
                <a:gridCol w="3033623">
                  <a:extLst>
                    <a:ext uri="{9D8B030D-6E8A-4147-A177-3AD203B41FA5}">
                      <a16:colId xmlns:a16="http://schemas.microsoft.com/office/drawing/2014/main" val="2732861255"/>
                    </a:ext>
                  </a:extLst>
                </a:gridCol>
              </a:tblGrid>
              <a:tr h="508552">
                <a:tc>
                  <a:txBody>
                    <a:bodyPr/>
                    <a:lstStyle/>
                    <a:p>
                      <a:pPr algn="ctr" fontAlgn="b"/>
                      <a:r>
                        <a:rPr lang="en-US" sz="1600" b="1" i="0" u="none" strike="noStrike" dirty="0">
                          <a:solidFill>
                            <a:srgbClr val="000000"/>
                          </a:solidFill>
                          <a:effectLst/>
                          <a:latin typeface="+mj-lt"/>
                        </a:rPr>
                        <a:t>Channel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mj-lt"/>
                        </a:rPr>
                        <a:t>Decay Rate Rang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mj-lt"/>
                        </a:rPr>
                        <a:t>Monthly Half Lif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8537679"/>
                  </a:ext>
                </a:extLst>
              </a:tr>
              <a:tr h="421701">
                <a:tc>
                  <a:txBody>
                    <a:bodyPr/>
                    <a:lstStyle/>
                    <a:p>
                      <a:pPr algn="ctr" fontAlgn="b"/>
                      <a:r>
                        <a:rPr lang="en-US" sz="1400" b="0" i="0" u="none" strike="noStrike" dirty="0">
                          <a:solidFill>
                            <a:srgbClr val="000000"/>
                          </a:solidFill>
                          <a:effectLst/>
                          <a:latin typeface="+mj-lt"/>
                        </a:rPr>
                        <a:t>Sales force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4 – 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Invention Light" panose="020B0403020008020204" pitchFamily="34" charset="0"/>
                        </a:rPr>
                        <a:t>0.76 - 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23813196"/>
                  </a:ext>
                </a:extLst>
              </a:tr>
              <a:tr h="421701">
                <a:tc>
                  <a:txBody>
                    <a:bodyPr/>
                    <a:lstStyle/>
                    <a:p>
                      <a:pPr algn="ctr" fontAlgn="b"/>
                      <a:r>
                        <a:rPr lang="en-US" sz="1400" b="0" i="0" u="none" strike="noStrike" dirty="0">
                          <a:solidFill>
                            <a:srgbClr val="000000"/>
                          </a:solidFill>
                          <a:effectLst/>
                          <a:latin typeface="+mj-lt"/>
                        </a:rPr>
                        <a:t>Sampl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3 – 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58 -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0299986"/>
                  </a:ext>
                </a:extLst>
              </a:tr>
              <a:tr h="481845">
                <a:tc>
                  <a:txBody>
                    <a:bodyPr/>
                    <a:lstStyle/>
                    <a:p>
                      <a:pPr algn="ctr" fontAlgn="b"/>
                      <a:r>
                        <a:rPr lang="en-US" sz="1400" b="0" i="0" u="none" strike="noStrike" dirty="0">
                          <a:solidFill>
                            <a:srgbClr val="000000"/>
                          </a:solidFill>
                          <a:effectLst/>
                          <a:latin typeface="+mj-lt"/>
                        </a:rPr>
                        <a:t>Voucher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2  - 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43 -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3225606"/>
                  </a:ext>
                </a:extLst>
              </a:tr>
              <a:tr h="870134">
                <a:tc>
                  <a:txBody>
                    <a:bodyPr/>
                    <a:lstStyle/>
                    <a:p>
                      <a:pPr algn="ctr" fontAlgn="b"/>
                      <a:r>
                        <a:rPr lang="en-US" sz="1400" b="0" i="0" u="none" strike="noStrike" dirty="0">
                          <a:solidFill>
                            <a:srgbClr val="000000"/>
                          </a:solidFill>
                          <a:effectLst/>
                          <a:latin typeface="+mj-lt"/>
                        </a:rPr>
                        <a:t>Non- Personal Promotions</a:t>
                      </a:r>
                      <a:br>
                        <a:rPr lang="en-US" sz="1400" b="0" i="0" u="none" strike="noStrike" dirty="0">
                          <a:solidFill>
                            <a:srgbClr val="000000"/>
                          </a:solidFill>
                          <a:effectLst/>
                          <a:latin typeface="+mj-lt"/>
                        </a:rPr>
                      </a:br>
                      <a:r>
                        <a:rPr lang="en-US" sz="1400" b="0" i="0" u="none" strike="noStrike" dirty="0">
                          <a:solidFill>
                            <a:srgbClr val="000000"/>
                          </a:solidFill>
                          <a:effectLst/>
                          <a:latin typeface="+mj-lt"/>
                        </a:rPr>
                        <a:t>(alerts, banners, email, edetai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3 – 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58 - 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8577232"/>
                  </a:ext>
                </a:extLst>
              </a:tr>
              <a:tr h="421701">
                <a:tc>
                  <a:txBody>
                    <a:bodyPr/>
                    <a:lstStyle/>
                    <a:p>
                      <a:pPr algn="ctr" fontAlgn="b"/>
                      <a:r>
                        <a:rPr lang="en-US" sz="1400" b="0" i="0" u="none" strike="noStrike" dirty="0">
                          <a:solidFill>
                            <a:srgbClr val="000000"/>
                          </a:solidFill>
                          <a:effectLst/>
                          <a:latin typeface="+mj-lt"/>
                        </a:rPr>
                        <a:t>T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4 – 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76 - 1.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0122657"/>
                  </a:ext>
                </a:extLst>
              </a:tr>
              <a:tr h="421701">
                <a:tc>
                  <a:txBody>
                    <a:bodyPr/>
                    <a:lstStyle/>
                    <a:p>
                      <a:pPr algn="ctr" fontAlgn="b"/>
                      <a:r>
                        <a:rPr lang="en-US" sz="1400" b="0" i="0" u="none" strike="noStrike" dirty="0">
                          <a:solidFill>
                            <a:srgbClr val="000000"/>
                          </a:solidFill>
                          <a:effectLst/>
                          <a:latin typeface="+mj-lt"/>
                        </a:rPr>
                        <a:t>Soci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3 – 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58 - 1.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83595740"/>
                  </a:ext>
                </a:extLst>
              </a:tr>
              <a:tr h="421701">
                <a:tc>
                  <a:txBody>
                    <a:bodyPr/>
                    <a:lstStyle/>
                    <a:p>
                      <a:pPr algn="ctr" fontAlgn="b"/>
                      <a:r>
                        <a:rPr lang="en-US" sz="1400" b="0" i="0" u="none" strike="noStrike" dirty="0">
                          <a:solidFill>
                            <a:srgbClr val="000000"/>
                          </a:solidFill>
                          <a:effectLst/>
                          <a:latin typeface="+mj-lt"/>
                        </a:rPr>
                        <a:t>Online Vide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4 – 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76 - 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8308058"/>
                  </a:ext>
                </a:extLst>
              </a:tr>
              <a:tr h="421701">
                <a:tc>
                  <a:txBody>
                    <a:bodyPr/>
                    <a:lstStyle/>
                    <a:p>
                      <a:pPr algn="ctr" fontAlgn="b"/>
                      <a:r>
                        <a:rPr lang="en-US" sz="1400" b="0" i="0" u="none" strike="noStrike" dirty="0">
                          <a:solidFill>
                            <a:srgbClr val="000000"/>
                          </a:solidFill>
                          <a:effectLst/>
                          <a:latin typeface="+mj-lt"/>
                        </a:rPr>
                        <a:t>Paid Sear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3 – 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58 - 1.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3478588"/>
                  </a:ext>
                </a:extLst>
              </a:tr>
              <a:tr h="421701">
                <a:tc>
                  <a:txBody>
                    <a:bodyPr/>
                    <a:lstStyle/>
                    <a:p>
                      <a:pPr algn="ctr" fontAlgn="b"/>
                      <a:r>
                        <a:rPr lang="en-US" sz="1400" b="0" i="0" u="none" strike="noStrike" dirty="0">
                          <a:solidFill>
                            <a:srgbClr val="000000"/>
                          </a:solidFill>
                          <a:effectLst/>
                          <a:latin typeface="+mj-lt"/>
                        </a:rPr>
                        <a:t>Radi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3 – 0.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a:solidFill>
                            <a:srgbClr val="000000"/>
                          </a:solidFill>
                          <a:effectLst/>
                          <a:latin typeface="Invention Light" panose="020B0403020008020204" pitchFamily="34" charset="0"/>
                        </a:rPr>
                        <a:t>0.58 - 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8789664"/>
                  </a:ext>
                </a:extLst>
              </a:tr>
              <a:tr h="421701">
                <a:tc>
                  <a:txBody>
                    <a:bodyPr/>
                    <a:lstStyle/>
                    <a:p>
                      <a:pPr algn="ctr" fontAlgn="b"/>
                      <a:r>
                        <a:rPr lang="en-US" sz="1400" b="0" i="0" u="none" strike="noStrike" dirty="0">
                          <a:solidFill>
                            <a:srgbClr val="000000"/>
                          </a:solidFill>
                          <a:effectLst/>
                          <a:latin typeface="+mj-lt"/>
                        </a:rPr>
                        <a:t>Organic Sear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0.4 – 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Invention Light" panose="020B0403020008020204" pitchFamily="34" charset="0"/>
                        </a:rPr>
                        <a:t>0.76 - 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574577"/>
                  </a:ext>
                </a:extLst>
              </a:tr>
            </a:tbl>
          </a:graphicData>
        </a:graphic>
      </p:graphicFrame>
    </p:spTree>
    <p:extLst>
      <p:ext uri="{BB962C8B-B14F-4D97-AF65-F5344CB8AC3E}">
        <p14:creationId xmlns:p14="http://schemas.microsoft.com/office/powerpoint/2010/main" val="38229618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Variable Transformation (Diminishing Curves) </a:t>
            </a:r>
          </a:p>
        </p:txBody>
      </p:sp>
      <p:grpSp>
        <p:nvGrpSpPr>
          <p:cNvPr id="2" name="Group 1">
            <a:extLst>
              <a:ext uri="{FF2B5EF4-FFF2-40B4-BE49-F238E27FC236}">
                <a16:creationId xmlns:a16="http://schemas.microsoft.com/office/drawing/2014/main" id="{BFE6B067-6884-4D7D-DD23-9819D42FE895}"/>
              </a:ext>
            </a:extLst>
          </p:cNvPr>
          <p:cNvGrpSpPr/>
          <p:nvPr/>
        </p:nvGrpSpPr>
        <p:grpSpPr>
          <a:xfrm>
            <a:off x="303832" y="1811167"/>
            <a:ext cx="11578493" cy="4105023"/>
            <a:chOff x="1004556" y="1784194"/>
            <a:chExt cx="9569003" cy="3844914"/>
          </a:xfrm>
        </p:grpSpPr>
        <p:sp>
          <p:nvSpPr>
            <p:cNvPr id="3" name="TextBox 2">
              <a:extLst>
                <a:ext uri="{FF2B5EF4-FFF2-40B4-BE49-F238E27FC236}">
                  <a16:creationId xmlns:a16="http://schemas.microsoft.com/office/drawing/2014/main" id="{11B1147D-67A4-2878-0336-9C746BDA8698}"/>
                </a:ext>
              </a:extLst>
            </p:cNvPr>
            <p:cNvSpPr txBox="1"/>
            <p:nvPr/>
          </p:nvSpPr>
          <p:spPr bwMode="gray">
            <a:xfrm>
              <a:off x="1004556" y="2034864"/>
              <a:ext cx="9569003" cy="875764"/>
            </a:xfrm>
            <a:prstGeom prst="rect">
              <a:avLst/>
            </a:prstGeom>
          </p:spPr>
          <p:txBody>
            <a:bodyPr vert="horz" wrap="square" lIns="0" tIns="0" rIns="0" bIns="0" rtlCol="0">
              <a:noAutofit/>
            </a:bodyPr>
            <a:lstStyle/>
            <a:p>
              <a:endParaRPr lang="en-US" dirty="0"/>
            </a:p>
          </p:txBody>
        </p:sp>
        <p:sp>
          <p:nvSpPr>
            <p:cNvPr id="4" name="Rectangle 3">
              <a:extLst>
                <a:ext uri="{FF2B5EF4-FFF2-40B4-BE49-F238E27FC236}">
                  <a16:creationId xmlns:a16="http://schemas.microsoft.com/office/drawing/2014/main" id="{53E08AFC-9AB7-D22E-F6A5-6C6953C60F11}"/>
                </a:ext>
              </a:extLst>
            </p:cNvPr>
            <p:cNvSpPr/>
            <p:nvPr/>
          </p:nvSpPr>
          <p:spPr>
            <a:xfrm>
              <a:off x="7255490" y="1784194"/>
              <a:ext cx="2893555" cy="1823977"/>
            </a:xfrm>
            <a:prstGeom prst="rect">
              <a:avLst/>
            </a:prstGeom>
            <a:solidFill>
              <a:srgbClr val="E5F8FF"/>
            </a:solidFill>
            <a:ln w="9525" cap="flat" cmpd="sng" algn="ctr">
              <a:noFill/>
              <a:prstDash val="solid"/>
              <a:round/>
              <a:headEnd type="none" w="med" len="med"/>
              <a:tailEnd type="none" w="med" len="med"/>
            </a:ln>
            <a:effectLst/>
          </p:spPr>
          <p:txBody>
            <a:bodyPr/>
            <a:lstStyle/>
            <a:p>
              <a:pPr lvl="1">
                <a:defRPr/>
              </a:pPr>
              <a:endParaRPr lang="en-US" dirty="0">
                <a:latin typeface="Tahoma" panose="020B0604030504040204" pitchFamily="34" charset="0"/>
                <a:ea typeface="Tahoma" panose="020B0604030504040204" pitchFamily="34" charset="0"/>
                <a:cs typeface="Tahoma" panose="020B0604030504040204" pitchFamily="34" charset="0"/>
              </a:endParaRPr>
            </a:p>
          </p:txBody>
        </p:sp>
        <p:pic>
          <p:nvPicPr>
            <p:cNvPr id="6" name="Picture 2" descr="http://figures.boundless.com/20503/full/diminishing-return.jpe">
              <a:extLst>
                <a:ext uri="{FF2B5EF4-FFF2-40B4-BE49-F238E27FC236}">
                  <a16:creationId xmlns:a16="http://schemas.microsoft.com/office/drawing/2014/main" id="{FF1D55EC-CC2B-84CF-A4B5-3C0EC29951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743" r="8984"/>
            <a:stretch>
              <a:fillRect/>
            </a:stretch>
          </p:blipFill>
          <p:spPr bwMode="auto">
            <a:xfrm>
              <a:off x="7418545" y="1869847"/>
              <a:ext cx="2449513" cy="154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E6DC797A-01A9-9A56-EA19-3B4E033AEA12}"/>
                </a:ext>
              </a:extLst>
            </p:cNvPr>
            <p:cNvSpPr/>
            <p:nvPr/>
          </p:nvSpPr>
          <p:spPr>
            <a:xfrm>
              <a:off x="1580176" y="1784196"/>
              <a:ext cx="1610454" cy="1823976"/>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anchor="ctr"/>
            <a:lstStyle/>
            <a:p>
              <a:pPr algn="ctr">
                <a:defRPr/>
              </a:pPr>
              <a:r>
                <a:rPr lang="en-US" sz="2000" dirty="0">
                  <a:solidFill>
                    <a:schemeClr val="bg1"/>
                  </a:solidFill>
                  <a:ea typeface="Tahoma" panose="020B0604030504040204" pitchFamily="34" charset="0"/>
                  <a:cs typeface="Tahoma" panose="020B0604030504040204" pitchFamily="34" charset="0"/>
                </a:rPr>
                <a:t>Law of diminishing returns</a:t>
              </a:r>
            </a:p>
          </p:txBody>
        </p:sp>
        <p:sp>
          <p:nvSpPr>
            <p:cNvPr id="8" name="Rectangle 7">
              <a:extLst>
                <a:ext uri="{FF2B5EF4-FFF2-40B4-BE49-F238E27FC236}">
                  <a16:creationId xmlns:a16="http://schemas.microsoft.com/office/drawing/2014/main" id="{013F0B85-376A-2E41-07A5-3287B1D08004}"/>
                </a:ext>
              </a:extLst>
            </p:cNvPr>
            <p:cNvSpPr/>
            <p:nvPr/>
          </p:nvSpPr>
          <p:spPr bwMode="auto">
            <a:xfrm>
              <a:off x="3190629" y="1784196"/>
              <a:ext cx="4215036" cy="1823976"/>
            </a:xfrm>
            <a:prstGeom prst="rect">
              <a:avLst/>
            </a:prstGeom>
            <a:solidFill>
              <a:srgbClr val="E5F8FF"/>
            </a:solidFill>
            <a:ln w="9525" cap="flat" cmpd="sng" algn="ctr">
              <a:noFill/>
              <a:prstDash val="solid"/>
              <a:round/>
              <a:headEnd type="none" w="med" len="med"/>
              <a:tailEnd type="none" w="med" len="med"/>
            </a:ln>
            <a:effectLst/>
          </p:spPr>
          <p:txBody>
            <a:bodyPr lIns="182880" anchor="ctr"/>
            <a:lstStyle/>
            <a:p>
              <a:pPr>
                <a:defRPr/>
              </a:pPr>
              <a:r>
                <a:rPr lang="en-US" sz="1600" dirty="0">
                  <a:ea typeface="Tahoma" panose="020B0604030504040204" pitchFamily="34" charset="0"/>
                  <a:cs typeface="Tahoma" panose="020B0604030504040204" pitchFamily="34" charset="0"/>
                </a:rPr>
                <a:t>The law of diminishing returns states that in all productive processes, adding more of one factor of production, while holding all others constant, will, at some point, yield lower incremental per-unit return</a:t>
              </a:r>
              <a:endParaRPr lang="en-US" sz="1600" b="0" dirty="0">
                <a:ea typeface="Tahoma" panose="020B0604030504040204" pitchFamily="34" charset="0"/>
                <a:cs typeface="Tahoma" panose="020B0604030504040204" pitchFamily="34" charset="0"/>
              </a:endParaRPr>
            </a:p>
          </p:txBody>
        </p:sp>
        <p:sp>
          <p:nvSpPr>
            <p:cNvPr id="9" name="Rectangle 8">
              <a:extLst>
                <a:ext uri="{FF2B5EF4-FFF2-40B4-BE49-F238E27FC236}">
                  <a16:creationId xmlns:a16="http://schemas.microsoft.com/office/drawing/2014/main" id="{C0546F45-D8C3-7CAC-5393-54DE3C35F7D9}"/>
                </a:ext>
              </a:extLst>
            </p:cNvPr>
            <p:cNvSpPr>
              <a:spLocks noChangeArrowheads="1"/>
            </p:cNvSpPr>
            <p:nvPr/>
          </p:nvSpPr>
          <p:spPr bwMode="auto">
            <a:xfrm>
              <a:off x="7012421" y="3608171"/>
              <a:ext cx="3123745" cy="2006649"/>
            </a:xfrm>
            <a:prstGeom prst="rect">
              <a:avLst/>
            </a:prstGeom>
            <a:solidFill>
              <a:schemeClr val="accent2">
                <a:lumMod val="20000"/>
                <a:lumOff val="80000"/>
              </a:schemeClr>
            </a:solidFill>
            <a:ln>
              <a:noFill/>
            </a:ln>
          </p:spPr>
          <p:txBody>
            <a:bodyPr/>
            <a:lstStyle>
              <a:lvl1pPr marL="342900" indent="-342900">
                <a:defRPr b="1">
                  <a:solidFill>
                    <a:schemeClr val="tx1"/>
                  </a:solidFill>
                  <a:latin typeface="Tahoma" panose="020B0604030504040204" pitchFamily="34" charset="0"/>
                  <a:cs typeface="Arial" panose="020B0604020202020204" pitchFamily="34" charset="0"/>
                </a:defRPr>
              </a:lvl1pPr>
              <a:lvl2pPr>
                <a:defRPr b="1">
                  <a:solidFill>
                    <a:schemeClr val="tx1"/>
                  </a:solidFill>
                  <a:latin typeface="Tahoma" panose="020B0604030504040204" pitchFamily="34" charset="0"/>
                  <a:cs typeface="Arial" panose="020B0604020202020204" pitchFamily="34" charset="0"/>
                </a:defRPr>
              </a:lvl2pPr>
              <a:lvl3pPr marL="1143000" indent="-228600">
                <a:defRPr b="1">
                  <a:solidFill>
                    <a:schemeClr val="tx1"/>
                  </a:solidFill>
                  <a:latin typeface="Tahoma" panose="020B0604030504040204" pitchFamily="34" charset="0"/>
                  <a:cs typeface="Arial" panose="020B0604020202020204" pitchFamily="34" charset="0"/>
                </a:defRPr>
              </a:lvl3pPr>
              <a:lvl4pPr marL="1600200" indent="-228600">
                <a:defRPr b="1">
                  <a:solidFill>
                    <a:schemeClr val="tx1"/>
                  </a:solidFill>
                  <a:latin typeface="Tahoma" panose="020B0604030504040204" pitchFamily="34" charset="0"/>
                  <a:cs typeface="Arial" panose="020B0604020202020204" pitchFamily="34" charset="0"/>
                </a:defRPr>
              </a:lvl4pPr>
              <a:lvl5pPr marL="2057400" indent="-22860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lvl="1"/>
              <a:endParaRPr lang="en-US" altLang="en-US" dirty="0">
                <a:ea typeface="Tahoma" panose="020B0604030504040204" pitchFamily="34" charset="0"/>
                <a:cs typeface="Tahoma" panose="020B0604030504040204" pitchFamily="34" charset="0"/>
              </a:endParaRPr>
            </a:p>
          </p:txBody>
        </p:sp>
        <p:sp>
          <p:nvSpPr>
            <p:cNvPr id="10" name="Rectangle 9">
              <a:extLst>
                <a:ext uri="{FF2B5EF4-FFF2-40B4-BE49-F238E27FC236}">
                  <a16:creationId xmlns:a16="http://schemas.microsoft.com/office/drawing/2014/main" id="{BF0B7033-B4E6-8D59-0941-77E11C679A1E}"/>
                </a:ext>
              </a:extLst>
            </p:cNvPr>
            <p:cNvSpPr/>
            <p:nvPr/>
          </p:nvSpPr>
          <p:spPr>
            <a:xfrm>
              <a:off x="1567297" y="3608172"/>
              <a:ext cx="1623332" cy="2020936"/>
            </a:xfrm>
            <a:prstGeom prst="rect">
              <a:avLst/>
            </a:prstGeom>
            <a:solidFill>
              <a:schemeClr val="accent2">
                <a:lumMod val="60000"/>
                <a:lumOff val="40000"/>
              </a:schemeClr>
            </a:solidFill>
            <a:ln w="9525" cap="flat" cmpd="sng" algn="ctr">
              <a:noFill/>
              <a:prstDash val="solid"/>
              <a:round/>
              <a:headEnd type="none" w="med" len="med"/>
              <a:tailEnd type="none" w="med" len="med"/>
            </a:ln>
            <a:effectLst/>
          </p:spPr>
          <p:txBody>
            <a:bodyPr anchor="ctr"/>
            <a:lstStyle/>
            <a:p>
              <a:pPr algn="ctr">
                <a:defRPr/>
              </a:pPr>
              <a:r>
                <a:rPr lang="en-US" sz="2000" dirty="0">
                  <a:ea typeface="Tahoma" panose="020B0604030504040204" pitchFamily="34" charset="0"/>
                  <a:cs typeface="Tahoma" panose="020B0604030504040204" pitchFamily="34" charset="0"/>
                </a:rPr>
                <a:t>Assisting marketing channels</a:t>
              </a:r>
            </a:p>
          </p:txBody>
        </p:sp>
        <p:sp>
          <p:nvSpPr>
            <p:cNvPr id="11" name="Rectangle 10">
              <a:extLst>
                <a:ext uri="{FF2B5EF4-FFF2-40B4-BE49-F238E27FC236}">
                  <a16:creationId xmlns:a16="http://schemas.microsoft.com/office/drawing/2014/main" id="{EE956F3E-EA72-F0A5-B84A-BFC852CD4227}"/>
                </a:ext>
              </a:extLst>
            </p:cNvPr>
            <p:cNvSpPr/>
            <p:nvPr/>
          </p:nvSpPr>
          <p:spPr bwMode="auto">
            <a:xfrm>
              <a:off x="3190630" y="3608171"/>
              <a:ext cx="3821792" cy="2006649"/>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lIns="182880"/>
            <a:lstStyle/>
            <a:p>
              <a:pPr>
                <a:defRPr/>
              </a:pPr>
              <a:endParaRPr lang="en-US" sz="1600" b="0" dirty="0">
                <a:ea typeface="Tahoma" panose="020B0604030504040204" pitchFamily="34" charset="0"/>
                <a:cs typeface="Tahoma" panose="020B0604030504040204" pitchFamily="34" charset="0"/>
              </a:endParaRPr>
            </a:p>
            <a:p>
              <a:pPr>
                <a:defRPr/>
              </a:pPr>
              <a:r>
                <a:rPr lang="en-US" sz="1600" b="0" dirty="0">
                  <a:ea typeface="Tahoma" panose="020B0604030504040204" pitchFamily="34" charset="0"/>
                  <a:cs typeface="Tahoma" panose="020B0604030504040204" pitchFamily="34" charset="0"/>
                </a:rPr>
                <a:t>There are multiple channels of promotion – no </a:t>
              </a:r>
              <a:r>
                <a:rPr lang="en-US" sz="1600" dirty="0">
                  <a:ea typeface="Tahoma" panose="020B0604030504040204" pitchFamily="34" charset="0"/>
                  <a:cs typeface="Tahoma" panose="020B0604030504040204" pitchFamily="34" charset="0"/>
                </a:rPr>
                <a:t>single</a:t>
              </a:r>
              <a:r>
                <a:rPr lang="en-US" sz="1600" b="0" dirty="0">
                  <a:ea typeface="Tahoma" panose="020B0604030504040204" pitchFamily="34" charset="0"/>
                  <a:cs typeface="Tahoma" panose="020B0604030504040204" pitchFamily="34" charset="0"/>
                </a:rPr>
                <a:t> channel is completely responsible for entire sales</a:t>
              </a:r>
              <a:endParaRPr lang="en-US" sz="1400" b="0" i="1" dirty="0">
                <a:ea typeface="Tahoma" panose="020B0604030504040204" pitchFamily="34" charset="0"/>
                <a:cs typeface="Tahoma" panose="020B0604030504040204" pitchFamily="34" charset="0"/>
              </a:endParaRPr>
            </a:p>
            <a:p>
              <a:pPr>
                <a:defRPr/>
              </a:pPr>
              <a:endParaRPr lang="en-US" sz="1400" i="1" dirty="0">
                <a:ea typeface="Tahoma" panose="020B0604030504040204" pitchFamily="34" charset="0"/>
                <a:cs typeface="Tahoma" panose="020B0604030504040204" pitchFamily="34" charset="0"/>
              </a:endParaRPr>
            </a:p>
            <a:p>
              <a:pPr>
                <a:defRPr/>
              </a:pPr>
              <a:r>
                <a:rPr lang="en-US" sz="1400" b="0" i="1" dirty="0">
                  <a:ea typeface="Tahoma" panose="020B0604030504040204" pitchFamily="34" charset="0"/>
                  <a:cs typeface="Tahoma" panose="020B0604030504040204" pitchFamily="34" charset="0"/>
                </a:rPr>
                <a:t>Example: Beyond a point, a particular channel promotion cannot make any difference to brand sales as other channels too have an impact on brand sales</a:t>
              </a:r>
            </a:p>
            <a:p>
              <a:pPr>
                <a:defRPr/>
              </a:pPr>
              <a:endParaRPr lang="en-US" sz="1600" b="0" dirty="0">
                <a:ea typeface="Tahoma" panose="020B0604030504040204" pitchFamily="34" charset="0"/>
                <a:cs typeface="Tahoma" panose="020B0604030504040204" pitchFamily="34" charset="0"/>
              </a:endParaRPr>
            </a:p>
          </p:txBody>
        </p:sp>
        <p:pic>
          <p:nvPicPr>
            <p:cNvPr id="12" name="Picture 6">
              <a:extLst>
                <a:ext uri="{FF2B5EF4-FFF2-40B4-BE49-F238E27FC236}">
                  <a16:creationId xmlns:a16="http://schemas.microsoft.com/office/drawing/2014/main" id="{498057E8-77A6-BEEF-5836-B48146889EA6}"/>
                </a:ext>
              </a:extLst>
            </p:cNvPr>
            <p:cNvPicPr>
              <a:picLocks noChangeAspect="1" noChangeArrowheads="1"/>
            </p:cNvPicPr>
            <p:nvPr/>
          </p:nvPicPr>
          <p:blipFill>
            <a:blip r:embed="rId5"/>
            <a:srcRect/>
            <a:stretch>
              <a:fillRect/>
            </a:stretch>
          </p:blipFill>
          <p:spPr bwMode="auto">
            <a:xfrm>
              <a:off x="7242611" y="3849520"/>
              <a:ext cx="2598736" cy="16929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04651676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D97F68-CC38-3C48-B083-3B4A1457065E}" type="slidenum">
              <a:rPr kumimoji="0" lang="en-US" sz="900" b="0" i="0" u="none" strike="noStrike" kern="600" cap="none" spc="10" normalizeH="0" baseline="0" noProof="0">
                <a:ln>
                  <a:noFill/>
                </a:ln>
                <a:solidFill>
                  <a:srgbClr val="37424A"/>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600" cap="none" spc="10" normalizeH="0" baseline="0" noProof="0">
              <a:ln>
                <a:noFill/>
              </a:ln>
              <a:solidFill>
                <a:srgbClr val="37424A"/>
              </a:solidFill>
              <a:effectLst/>
              <a:uLnTx/>
              <a:uFillTx/>
              <a:latin typeface="Arial Narrow"/>
              <a:ea typeface="+mn-ea"/>
              <a:cs typeface="+mn-cs"/>
            </a:endParaRPr>
          </a:p>
        </p:txBody>
      </p:sp>
      <p:sp>
        <p:nvSpPr>
          <p:cNvPr id="31" name="Rectangle 4"/>
          <p:cNvSpPr txBox="1">
            <a:spLocks noChangeArrowheads="1"/>
          </p:cNvSpPr>
          <p:nvPr>
            <p:custDataLst>
              <p:tags r:id="rId1"/>
            </p:custDataLst>
          </p:nvPr>
        </p:nvSpPr>
        <p:spPr bwMode="auto">
          <a:xfrm>
            <a:off x="374904" y="396282"/>
            <a:ext cx="11436350" cy="850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2" tIns="45716" rIns="91432" bIns="45716" rtlCol="0" anchor="ctr" anchorCtr="0">
            <a:noAutofit/>
          </a:bodyPr>
          <a:lstStyle>
            <a:lvl1pPr algn="l" defTabSz="457200" rtl="0" eaLnBrk="1" latinLnBrk="0" hangingPunct="1">
              <a:lnSpc>
                <a:spcPct val="90000"/>
              </a:lnSpc>
              <a:spcBef>
                <a:spcPct val="0"/>
              </a:spcBef>
              <a:buNone/>
              <a:defRPr sz="3200" kern="600" spc="50">
                <a:solidFill>
                  <a:schemeClr val="tx1"/>
                </a:solidFill>
                <a:latin typeface="Arial Narrow"/>
                <a:ea typeface="+mj-ea"/>
                <a:cs typeface="Arial Narrow"/>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750" b="0" i="0" u="none" strike="noStrike" kern="600" cap="none" spc="50" normalizeH="0" baseline="0" noProof="0" dirty="0">
                <a:ln>
                  <a:noFill/>
                </a:ln>
                <a:solidFill>
                  <a:srgbClr val="0C2340"/>
                </a:solidFill>
                <a:effectLst/>
                <a:uLnTx/>
                <a:uFillTx/>
                <a:latin typeface="Invention Light"/>
                <a:ea typeface="+mj-ea"/>
              </a:rPr>
              <a:t>Variable Transformation (Diminishing Curves) </a:t>
            </a:r>
          </a:p>
        </p:txBody>
      </p:sp>
      <p:grpSp>
        <p:nvGrpSpPr>
          <p:cNvPr id="588" name="Group 587">
            <a:extLst>
              <a:ext uri="{FF2B5EF4-FFF2-40B4-BE49-F238E27FC236}">
                <a16:creationId xmlns:a16="http://schemas.microsoft.com/office/drawing/2014/main" id="{BC0F6794-00E7-0B59-F440-F0A58D5621B6}"/>
              </a:ext>
            </a:extLst>
          </p:cNvPr>
          <p:cNvGrpSpPr/>
          <p:nvPr/>
        </p:nvGrpSpPr>
        <p:grpSpPr>
          <a:xfrm>
            <a:off x="642937" y="1459289"/>
            <a:ext cx="11164748" cy="4596952"/>
            <a:chOff x="642937" y="1459289"/>
            <a:chExt cx="11164748" cy="4596952"/>
          </a:xfrm>
        </p:grpSpPr>
        <p:sp>
          <p:nvSpPr>
            <p:cNvPr id="589" name="Rectangle 588">
              <a:extLst>
                <a:ext uri="{FF2B5EF4-FFF2-40B4-BE49-F238E27FC236}">
                  <a16:creationId xmlns:a16="http://schemas.microsoft.com/office/drawing/2014/main" id="{856636E9-7DA2-53C2-4684-41261F69EE37}"/>
                </a:ext>
              </a:extLst>
            </p:cNvPr>
            <p:cNvSpPr/>
            <p:nvPr/>
          </p:nvSpPr>
          <p:spPr bwMode="auto">
            <a:xfrm rot="5400000">
              <a:off x="3927322" y="-1825096"/>
              <a:ext cx="4595978" cy="11164748"/>
            </a:xfrm>
            <a:prstGeom prst="rect">
              <a:avLst/>
            </a:prstGeom>
            <a:solidFill>
              <a:schemeClr val="bg1">
                <a:lumMod val="95000"/>
                <a:alpha val="36000"/>
              </a:schemeClr>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dirty="0">
                <a:solidFill>
                  <a:prstClr val="black"/>
                </a:solidFill>
              </a:endParaRPr>
            </a:p>
          </p:txBody>
        </p:sp>
        <p:grpSp>
          <p:nvGrpSpPr>
            <p:cNvPr id="591" name="Group 590">
              <a:extLst>
                <a:ext uri="{FF2B5EF4-FFF2-40B4-BE49-F238E27FC236}">
                  <a16:creationId xmlns:a16="http://schemas.microsoft.com/office/drawing/2014/main" id="{3BEB11BC-CBB8-5BC9-F889-5B468F60151D}"/>
                </a:ext>
              </a:extLst>
            </p:cNvPr>
            <p:cNvGrpSpPr/>
            <p:nvPr/>
          </p:nvGrpSpPr>
          <p:grpSpPr>
            <a:xfrm>
              <a:off x="769348" y="1833999"/>
              <a:ext cx="10893814" cy="4222242"/>
              <a:chOff x="-293105" y="1446231"/>
              <a:chExt cx="10893814" cy="4659144"/>
            </a:xfrm>
          </p:grpSpPr>
          <p:sp>
            <p:nvSpPr>
              <p:cNvPr id="592" name="TextBox 591">
                <a:extLst>
                  <a:ext uri="{FF2B5EF4-FFF2-40B4-BE49-F238E27FC236}">
                    <a16:creationId xmlns:a16="http://schemas.microsoft.com/office/drawing/2014/main" id="{EBB5D561-49EE-4ADF-FD78-CBB66D1593BE}"/>
                  </a:ext>
                </a:extLst>
              </p:cNvPr>
              <p:cNvSpPr txBox="1"/>
              <p:nvPr/>
            </p:nvSpPr>
            <p:spPr>
              <a:xfrm>
                <a:off x="-293105" y="3108587"/>
                <a:ext cx="2625161" cy="57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defRPr sz="1600" b="0">
                    <a:latin typeface="Tahoma" panose="020B0604030504040204" pitchFamily="34" charset="0"/>
                    <a:cs typeface="Arial" panose="020B0604020202020204" pitchFamily="34" charset="0"/>
                  </a:defRPr>
                </a:lvl1pPr>
                <a:lvl2pPr marL="742950" indent="-285750" eaLnBrk="0" hangingPunct="0">
                  <a:defRPr b="1">
                    <a:latin typeface="Tahoma" panose="020B0604030504040204" pitchFamily="34" charset="0"/>
                    <a:cs typeface="Arial" panose="020B0604020202020204" pitchFamily="34" charset="0"/>
                  </a:defRPr>
                </a:lvl2pPr>
                <a:lvl3pPr marL="1143000" indent="-228600" eaLnBrk="0" hangingPunct="0">
                  <a:defRPr b="1">
                    <a:latin typeface="Tahoma" panose="020B0604030504040204" pitchFamily="34" charset="0"/>
                    <a:cs typeface="Arial" panose="020B0604020202020204" pitchFamily="34" charset="0"/>
                  </a:defRPr>
                </a:lvl3pPr>
                <a:lvl4pPr marL="1600200" indent="-228600" eaLnBrk="0" hangingPunct="0">
                  <a:defRPr b="1">
                    <a:latin typeface="Tahoma" panose="020B0604030504040204" pitchFamily="34" charset="0"/>
                    <a:cs typeface="Arial" panose="020B0604020202020204" pitchFamily="34" charset="0"/>
                  </a:defRPr>
                </a:lvl4pPr>
                <a:lvl5pPr marL="2057400" indent="-228600" eaLnBrk="0" hangingPunct="0">
                  <a:defRPr b="1">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latin typeface="Tahoma" panose="020B0604030504040204" pitchFamily="34" charset="0"/>
                    <a:cs typeface="Arial" panose="020B0604020202020204" pitchFamily="34" charset="0"/>
                  </a:defRPr>
                </a:lvl9pPr>
              </a:lstStyle>
              <a:p>
                <a:r>
                  <a:rPr lang="en-US" sz="1400" b="1" dirty="0">
                    <a:latin typeface="+mn-lt"/>
                  </a:rPr>
                  <a:t>Negative exponential, Logarithmic, Power (&lt;1)</a:t>
                </a:r>
              </a:p>
            </p:txBody>
          </p:sp>
          <p:sp>
            <p:nvSpPr>
              <p:cNvPr id="593" name="TextBox 5">
                <a:extLst>
                  <a:ext uri="{FF2B5EF4-FFF2-40B4-BE49-F238E27FC236}">
                    <a16:creationId xmlns:a16="http://schemas.microsoft.com/office/drawing/2014/main" id="{696689FB-4298-266E-3394-402DF24EAD05}"/>
                  </a:ext>
                </a:extLst>
              </p:cNvPr>
              <p:cNvSpPr txBox="1">
                <a:spLocks noChangeArrowheads="1"/>
              </p:cNvSpPr>
              <p:nvPr/>
            </p:nvSpPr>
            <p:spPr bwMode="auto">
              <a:xfrm>
                <a:off x="-293105" y="1697300"/>
                <a:ext cx="2610873" cy="815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Simple, can calculate historical avg ROI but not “optimal”</a:t>
                </a:r>
              </a:p>
            </p:txBody>
          </p:sp>
          <p:sp>
            <p:nvSpPr>
              <p:cNvPr id="594" name="TextBox 6">
                <a:extLst>
                  <a:ext uri="{FF2B5EF4-FFF2-40B4-BE49-F238E27FC236}">
                    <a16:creationId xmlns:a16="http://schemas.microsoft.com/office/drawing/2014/main" id="{70A203EF-4246-261C-8982-7FBE9E6EDEDD}"/>
                  </a:ext>
                </a:extLst>
              </p:cNvPr>
              <p:cNvSpPr txBox="1">
                <a:spLocks noChangeArrowheads="1"/>
              </p:cNvSpPr>
              <p:nvPr/>
            </p:nvSpPr>
            <p:spPr bwMode="auto">
              <a:xfrm>
                <a:off x="8085155" y="1712931"/>
                <a:ext cx="2515554" cy="57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Sometimes seen, not useful</a:t>
                </a:r>
              </a:p>
            </p:txBody>
          </p:sp>
          <p:sp>
            <p:nvSpPr>
              <p:cNvPr id="595" name="TextBox 7">
                <a:extLst>
                  <a:ext uri="{FF2B5EF4-FFF2-40B4-BE49-F238E27FC236}">
                    <a16:creationId xmlns:a16="http://schemas.microsoft.com/office/drawing/2014/main" id="{29553FF8-6811-107F-3CA6-5659B3B1DB38}"/>
                  </a:ext>
                </a:extLst>
              </p:cNvPr>
              <p:cNvSpPr txBox="1">
                <a:spLocks noChangeArrowheads="1"/>
              </p:cNvSpPr>
              <p:nvPr/>
            </p:nvSpPr>
            <p:spPr bwMode="auto">
              <a:xfrm>
                <a:off x="-293105" y="4767525"/>
                <a:ext cx="2610873" cy="57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Accounts for threshold effect</a:t>
                </a:r>
              </a:p>
            </p:txBody>
          </p:sp>
          <p:sp>
            <p:nvSpPr>
              <p:cNvPr id="596" name="TextBox 8">
                <a:extLst>
                  <a:ext uri="{FF2B5EF4-FFF2-40B4-BE49-F238E27FC236}">
                    <a16:creationId xmlns:a16="http://schemas.microsoft.com/office/drawing/2014/main" id="{EBDDAC15-A7AF-D46E-4780-E07E0406CFDA}"/>
                  </a:ext>
                </a:extLst>
              </p:cNvPr>
              <p:cNvSpPr txBox="1">
                <a:spLocks noChangeArrowheads="1"/>
              </p:cNvSpPr>
              <p:nvPr/>
            </p:nvSpPr>
            <p:spPr bwMode="auto">
              <a:xfrm>
                <a:off x="8097854" y="4456131"/>
                <a:ext cx="2502855" cy="57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Typically only when data is limited . . . </a:t>
                </a:r>
              </a:p>
            </p:txBody>
          </p:sp>
          <p:sp>
            <p:nvSpPr>
              <p:cNvPr id="597" name="TextBox 9">
                <a:extLst>
                  <a:ext uri="{FF2B5EF4-FFF2-40B4-BE49-F238E27FC236}">
                    <a16:creationId xmlns:a16="http://schemas.microsoft.com/office/drawing/2014/main" id="{2B068BEF-A86D-1B4B-FDD8-B1AB6E8FFC82}"/>
                  </a:ext>
                </a:extLst>
              </p:cNvPr>
              <p:cNvSpPr txBox="1">
                <a:spLocks noChangeArrowheads="1"/>
              </p:cNvSpPr>
              <p:nvPr/>
            </p:nvSpPr>
            <p:spPr bwMode="auto">
              <a:xfrm>
                <a:off x="8097855" y="2943243"/>
                <a:ext cx="2502854" cy="57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Possibly realistic, but hard to model or to act on</a:t>
                </a:r>
              </a:p>
            </p:txBody>
          </p:sp>
          <p:cxnSp>
            <p:nvCxnSpPr>
              <p:cNvPr id="598" name="Straight Connector 597">
                <a:extLst>
                  <a:ext uri="{FF2B5EF4-FFF2-40B4-BE49-F238E27FC236}">
                    <a16:creationId xmlns:a16="http://schemas.microsoft.com/office/drawing/2014/main" id="{CE41EEEB-733C-9CCF-1ACA-A3CC5E7B3870}"/>
                  </a:ext>
                </a:extLst>
              </p:cNvPr>
              <p:cNvCxnSpPr/>
              <p:nvPr/>
            </p:nvCxnSpPr>
            <p:spPr bwMode="auto">
              <a:xfrm>
                <a:off x="6399230" y="4262456"/>
                <a:ext cx="0" cy="1393825"/>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cxnSp>
            <p:nvCxnSpPr>
              <p:cNvPr id="599" name="Straight Connector 598">
                <a:extLst>
                  <a:ext uri="{FF2B5EF4-FFF2-40B4-BE49-F238E27FC236}">
                    <a16:creationId xmlns:a16="http://schemas.microsoft.com/office/drawing/2014/main" id="{961A75AC-B27C-A09B-939F-C93261AAEC45}"/>
                  </a:ext>
                </a:extLst>
              </p:cNvPr>
              <p:cNvCxnSpPr/>
              <p:nvPr/>
            </p:nvCxnSpPr>
            <p:spPr bwMode="auto">
              <a:xfrm>
                <a:off x="7337443" y="4298968"/>
                <a:ext cx="0" cy="1357313"/>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600" name="TextBox 599">
                <a:extLst>
                  <a:ext uri="{FF2B5EF4-FFF2-40B4-BE49-F238E27FC236}">
                    <a16:creationId xmlns:a16="http://schemas.microsoft.com/office/drawing/2014/main" id="{838AA6EC-7359-1298-D54A-B00AB8EC00DD}"/>
                  </a:ext>
                </a:extLst>
              </p:cNvPr>
              <p:cNvSpPr txBox="1">
                <a:spLocks noChangeArrowheads="1"/>
              </p:cNvSpPr>
              <p:nvPr/>
            </p:nvSpPr>
            <p:spPr bwMode="auto">
              <a:xfrm>
                <a:off x="2576530" y="5765750"/>
                <a:ext cx="5292725" cy="33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400" dirty="0">
                    <a:latin typeface="+mn-lt"/>
                  </a:rPr>
                  <a:t>In all models:	X axis: Effort	Y axis: Return</a:t>
                </a:r>
              </a:p>
            </p:txBody>
          </p:sp>
          <p:sp>
            <p:nvSpPr>
              <p:cNvPr id="601" name="AutoShape 3">
                <a:extLst>
                  <a:ext uri="{FF2B5EF4-FFF2-40B4-BE49-F238E27FC236}">
                    <a16:creationId xmlns:a16="http://schemas.microsoft.com/office/drawing/2014/main" id="{7B51202B-9B81-F770-5E3F-6F284627E545}"/>
                  </a:ext>
                </a:extLst>
              </p:cNvPr>
              <p:cNvSpPr>
                <a:spLocks noChangeAspect="1" noChangeArrowheads="1" noTextEdit="1"/>
              </p:cNvSpPr>
              <p:nvPr/>
            </p:nvSpPr>
            <p:spPr bwMode="auto">
              <a:xfrm>
                <a:off x="2411430" y="1446231"/>
                <a:ext cx="5597525"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grpSp>
            <p:nvGrpSpPr>
              <p:cNvPr id="602" name="Group 28162">
                <a:extLst>
                  <a:ext uri="{FF2B5EF4-FFF2-40B4-BE49-F238E27FC236}">
                    <a16:creationId xmlns:a16="http://schemas.microsoft.com/office/drawing/2014/main" id="{57A21AE1-4E3C-32F9-03E1-169250838C77}"/>
                  </a:ext>
                </a:extLst>
              </p:cNvPr>
              <p:cNvGrpSpPr>
                <a:grpSpLocks/>
              </p:cNvGrpSpPr>
              <p:nvPr/>
            </p:nvGrpSpPr>
            <p:grpSpPr bwMode="auto">
              <a:xfrm>
                <a:off x="2411430" y="1446231"/>
                <a:ext cx="2779713" cy="1395412"/>
                <a:chOff x="1768475" y="1379538"/>
                <a:chExt cx="2779713" cy="1395413"/>
              </a:xfrm>
            </p:grpSpPr>
            <p:sp>
              <p:nvSpPr>
                <p:cNvPr id="1069" name="Rectangle 5">
                  <a:extLst>
                    <a:ext uri="{FF2B5EF4-FFF2-40B4-BE49-F238E27FC236}">
                      <a16:creationId xmlns:a16="http://schemas.microsoft.com/office/drawing/2014/main" id="{0C744F93-3DCA-B2CF-3FD7-362B3E977DD7}"/>
                    </a:ext>
                  </a:extLst>
                </p:cNvPr>
                <p:cNvSpPr>
                  <a:spLocks noChangeArrowheads="1"/>
                </p:cNvSpPr>
                <p:nvPr/>
              </p:nvSpPr>
              <p:spPr bwMode="auto">
                <a:xfrm>
                  <a:off x="1771650" y="1384301"/>
                  <a:ext cx="2771775" cy="1387475"/>
                </a:xfrm>
                <a:prstGeom prst="rect">
                  <a:avLst/>
                </a:prstGeom>
                <a:solidFill>
                  <a:srgbClr val="FFFFFF"/>
                </a:solidFill>
                <a:ln w="9525">
                  <a:no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1070" name="Rectangle 6">
                  <a:extLst>
                    <a:ext uri="{FF2B5EF4-FFF2-40B4-BE49-F238E27FC236}">
                      <a16:creationId xmlns:a16="http://schemas.microsoft.com/office/drawing/2014/main" id="{DDE7908F-B716-D630-0C10-4869C0E9531F}"/>
                    </a:ext>
                  </a:extLst>
                </p:cNvPr>
                <p:cNvSpPr>
                  <a:spLocks noChangeArrowheads="1"/>
                </p:cNvSpPr>
                <p:nvPr/>
              </p:nvSpPr>
              <p:spPr bwMode="auto">
                <a:xfrm>
                  <a:off x="2016125" y="1779588"/>
                  <a:ext cx="2419350" cy="755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1071" name="Freeform 7">
                  <a:extLst>
                    <a:ext uri="{FF2B5EF4-FFF2-40B4-BE49-F238E27FC236}">
                      <a16:creationId xmlns:a16="http://schemas.microsoft.com/office/drawing/2014/main" id="{4F9BF612-7EDD-24F9-414F-31FD60CF5F54}"/>
                    </a:ext>
                  </a:extLst>
                </p:cNvPr>
                <p:cNvSpPr>
                  <a:spLocks noEditPoints="1"/>
                </p:cNvSpPr>
                <p:nvPr/>
              </p:nvSpPr>
              <p:spPr bwMode="auto">
                <a:xfrm>
                  <a:off x="2016125" y="1776413"/>
                  <a:ext cx="2419350" cy="573088"/>
                </a:xfrm>
                <a:custGeom>
                  <a:avLst/>
                  <a:gdLst>
                    <a:gd name="T0" fmla="*/ 0 w 1524"/>
                    <a:gd name="T1" fmla="*/ 2147483647 h 361"/>
                    <a:gd name="T2" fmla="*/ 2147483647 w 1524"/>
                    <a:gd name="T3" fmla="*/ 2147483647 h 361"/>
                    <a:gd name="T4" fmla="*/ 2147483647 w 1524"/>
                    <a:gd name="T5" fmla="*/ 2147483647 h 361"/>
                    <a:gd name="T6" fmla="*/ 0 w 1524"/>
                    <a:gd name="T7" fmla="*/ 2147483647 h 361"/>
                    <a:gd name="T8" fmla="*/ 0 w 1524"/>
                    <a:gd name="T9" fmla="*/ 2147483647 h 361"/>
                    <a:gd name="T10" fmla="*/ 0 w 1524"/>
                    <a:gd name="T11" fmla="*/ 2147483647 h 361"/>
                    <a:gd name="T12" fmla="*/ 2147483647 w 1524"/>
                    <a:gd name="T13" fmla="*/ 2147483647 h 361"/>
                    <a:gd name="T14" fmla="*/ 2147483647 w 1524"/>
                    <a:gd name="T15" fmla="*/ 2147483647 h 361"/>
                    <a:gd name="T16" fmla="*/ 0 w 1524"/>
                    <a:gd name="T17" fmla="*/ 2147483647 h 361"/>
                    <a:gd name="T18" fmla="*/ 0 w 1524"/>
                    <a:gd name="T19" fmla="*/ 2147483647 h 361"/>
                    <a:gd name="T20" fmla="*/ 0 w 1524"/>
                    <a:gd name="T21" fmla="*/ 2147483647 h 361"/>
                    <a:gd name="T22" fmla="*/ 2147483647 w 1524"/>
                    <a:gd name="T23" fmla="*/ 2147483647 h 361"/>
                    <a:gd name="T24" fmla="*/ 2147483647 w 1524"/>
                    <a:gd name="T25" fmla="*/ 2147483647 h 361"/>
                    <a:gd name="T26" fmla="*/ 0 w 1524"/>
                    <a:gd name="T27" fmla="*/ 2147483647 h 361"/>
                    <a:gd name="T28" fmla="*/ 0 w 1524"/>
                    <a:gd name="T29" fmla="*/ 2147483647 h 361"/>
                    <a:gd name="T30" fmla="*/ 0 w 1524"/>
                    <a:gd name="T31" fmla="*/ 0 h 361"/>
                    <a:gd name="T32" fmla="*/ 2147483647 w 1524"/>
                    <a:gd name="T33" fmla="*/ 0 h 361"/>
                    <a:gd name="T34" fmla="*/ 2147483647 w 1524"/>
                    <a:gd name="T35" fmla="*/ 2147483647 h 361"/>
                    <a:gd name="T36" fmla="*/ 0 w 1524"/>
                    <a:gd name="T37" fmla="*/ 2147483647 h 361"/>
                    <a:gd name="T38" fmla="*/ 0 w 1524"/>
                    <a:gd name="T39" fmla="*/ 0 h 3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4" h="361">
                      <a:moveTo>
                        <a:pt x="0" y="357"/>
                      </a:moveTo>
                      <a:lnTo>
                        <a:pt x="1524" y="357"/>
                      </a:lnTo>
                      <a:lnTo>
                        <a:pt x="1524" y="361"/>
                      </a:lnTo>
                      <a:lnTo>
                        <a:pt x="0" y="361"/>
                      </a:lnTo>
                      <a:lnTo>
                        <a:pt x="0" y="357"/>
                      </a:lnTo>
                      <a:close/>
                      <a:moveTo>
                        <a:pt x="0" y="238"/>
                      </a:moveTo>
                      <a:lnTo>
                        <a:pt x="1524" y="238"/>
                      </a:lnTo>
                      <a:lnTo>
                        <a:pt x="1524" y="242"/>
                      </a:lnTo>
                      <a:lnTo>
                        <a:pt x="0" y="242"/>
                      </a:lnTo>
                      <a:lnTo>
                        <a:pt x="0" y="238"/>
                      </a:lnTo>
                      <a:close/>
                      <a:moveTo>
                        <a:pt x="0" y="119"/>
                      </a:moveTo>
                      <a:lnTo>
                        <a:pt x="1524" y="119"/>
                      </a:lnTo>
                      <a:lnTo>
                        <a:pt x="1524" y="124"/>
                      </a:lnTo>
                      <a:lnTo>
                        <a:pt x="0" y="124"/>
                      </a:lnTo>
                      <a:lnTo>
                        <a:pt x="0" y="119"/>
                      </a:lnTo>
                      <a:close/>
                      <a:moveTo>
                        <a:pt x="0" y="0"/>
                      </a:moveTo>
                      <a:lnTo>
                        <a:pt x="1524" y="0"/>
                      </a:lnTo>
                      <a:lnTo>
                        <a:pt x="1524" y="5"/>
                      </a:lnTo>
                      <a:lnTo>
                        <a:pt x="0" y="5"/>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1072" name="Rectangle 8">
                  <a:extLst>
                    <a:ext uri="{FF2B5EF4-FFF2-40B4-BE49-F238E27FC236}">
                      <a16:creationId xmlns:a16="http://schemas.microsoft.com/office/drawing/2014/main" id="{C6239CB1-0D7D-B147-9DBE-B1DEB71EAACE}"/>
                    </a:ext>
                  </a:extLst>
                </p:cNvPr>
                <p:cNvSpPr>
                  <a:spLocks noChangeArrowheads="1"/>
                </p:cNvSpPr>
                <p:nvPr/>
              </p:nvSpPr>
              <p:spPr bwMode="auto">
                <a:xfrm>
                  <a:off x="2012950" y="1779588"/>
                  <a:ext cx="6350" cy="755650"/>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1073" name="Freeform 9">
                  <a:extLst>
                    <a:ext uri="{FF2B5EF4-FFF2-40B4-BE49-F238E27FC236}">
                      <a16:creationId xmlns:a16="http://schemas.microsoft.com/office/drawing/2014/main" id="{3A38EFD2-0383-1C45-1621-1AEE5B42837B}"/>
                    </a:ext>
                  </a:extLst>
                </p:cNvPr>
                <p:cNvSpPr>
                  <a:spLocks noEditPoints="1"/>
                </p:cNvSpPr>
                <p:nvPr/>
              </p:nvSpPr>
              <p:spPr bwMode="auto">
                <a:xfrm>
                  <a:off x="1985963" y="1776413"/>
                  <a:ext cx="30163" cy="762000"/>
                </a:xfrm>
                <a:custGeom>
                  <a:avLst/>
                  <a:gdLst>
                    <a:gd name="T0" fmla="*/ 0 w 19"/>
                    <a:gd name="T1" fmla="*/ 2147483647 h 480"/>
                    <a:gd name="T2" fmla="*/ 2147483647 w 19"/>
                    <a:gd name="T3" fmla="*/ 2147483647 h 480"/>
                    <a:gd name="T4" fmla="*/ 2147483647 w 19"/>
                    <a:gd name="T5" fmla="*/ 2147483647 h 480"/>
                    <a:gd name="T6" fmla="*/ 0 w 19"/>
                    <a:gd name="T7" fmla="*/ 2147483647 h 480"/>
                    <a:gd name="T8" fmla="*/ 0 w 19"/>
                    <a:gd name="T9" fmla="*/ 2147483647 h 480"/>
                    <a:gd name="T10" fmla="*/ 0 w 19"/>
                    <a:gd name="T11" fmla="*/ 2147483647 h 480"/>
                    <a:gd name="T12" fmla="*/ 2147483647 w 19"/>
                    <a:gd name="T13" fmla="*/ 2147483647 h 480"/>
                    <a:gd name="T14" fmla="*/ 2147483647 w 19"/>
                    <a:gd name="T15" fmla="*/ 2147483647 h 480"/>
                    <a:gd name="T16" fmla="*/ 0 w 19"/>
                    <a:gd name="T17" fmla="*/ 2147483647 h 480"/>
                    <a:gd name="T18" fmla="*/ 0 w 19"/>
                    <a:gd name="T19" fmla="*/ 2147483647 h 480"/>
                    <a:gd name="T20" fmla="*/ 0 w 19"/>
                    <a:gd name="T21" fmla="*/ 2147483647 h 480"/>
                    <a:gd name="T22" fmla="*/ 2147483647 w 19"/>
                    <a:gd name="T23" fmla="*/ 2147483647 h 480"/>
                    <a:gd name="T24" fmla="*/ 2147483647 w 19"/>
                    <a:gd name="T25" fmla="*/ 2147483647 h 480"/>
                    <a:gd name="T26" fmla="*/ 0 w 19"/>
                    <a:gd name="T27" fmla="*/ 2147483647 h 480"/>
                    <a:gd name="T28" fmla="*/ 0 w 19"/>
                    <a:gd name="T29" fmla="*/ 2147483647 h 480"/>
                    <a:gd name="T30" fmla="*/ 0 w 19"/>
                    <a:gd name="T31" fmla="*/ 2147483647 h 480"/>
                    <a:gd name="T32" fmla="*/ 2147483647 w 19"/>
                    <a:gd name="T33" fmla="*/ 2147483647 h 480"/>
                    <a:gd name="T34" fmla="*/ 2147483647 w 19"/>
                    <a:gd name="T35" fmla="*/ 2147483647 h 480"/>
                    <a:gd name="T36" fmla="*/ 0 w 19"/>
                    <a:gd name="T37" fmla="*/ 2147483647 h 480"/>
                    <a:gd name="T38" fmla="*/ 0 w 19"/>
                    <a:gd name="T39" fmla="*/ 2147483647 h 480"/>
                    <a:gd name="T40" fmla="*/ 0 w 19"/>
                    <a:gd name="T41" fmla="*/ 0 h 480"/>
                    <a:gd name="T42" fmla="*/ 2147483647 w 19"/>
                    <a:gd name="T43" fmla="*/ 0 h 480"/>
                    <a:gd name="T44" fmla="*/ 2147483647 w 19"/>
                    <a:gd name="T45" fmla="*/ 2147483647 h 480"/>
                    <a:gd name="T46" fmla="*/ 0 w 19"/>
                    <a:gd name="T47" fmla="*/ 2147483647 h 480"/>
                    <a:gd name="T48" fmla="*/ 0 w 19"/>
                    <a:gd name="T49" fmla="*/ 0 h 48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 h="480">
                      <a:moveTo>
                        <a:pt x="0" y="476"/>
                      </a:moveTo>
                      <a:lnTo>
                        <a:pt x="19" y="476"/>
                      </a:lnTo>
                      <a:lnTo>
                        <a:pt x="19" y="480"/>
                      </a:lnTo>
                      <a:lnTo>
                        <a:pt x="0" y="480"/>
                      </a:lnTo>
                      <a:lnTo>
                        <a:pt x="0" y="476"/>
                      </a:lnTo>
                      <a:close/>
                      <a:moveTo>
                        <a:pt x="0" y="357"/>
                      </a:moveTo>
                      <a:lnTo>
                        <a:pt x="19" y="357"/>
                      </a:lnTo>
                      <a:lnTo>
                        <a:pt x="19" y="361"/>
                      </a:lnTo>
                      <a:lnTo>
                        <a:pt x="0" y="361"/>
                      </a:lnTo>
                      <a:lnTo>
                        <a:pt x="0" y="357"/>
                      </a:lnTo>
                      <a:close/>
                      <a:moveTo>
                        <a:pt x="0" y="238"/>
                      </a:moveTo>
                      <a:lnTo>
                        <a:pt x="19" y="238"/>
                      </a:lnTo>
                      <a:lnTo>
                        <a:pt x="19" y="242"/>
                      </a:lnTo>
                      <a:lnTo>
                        <a:pt x="0" y="242"/>
                      </a:lnTo>
                      <a:lnTo>
                        <a:pt x="0" y="238"/>
                      </a:lnTo>
                      <a:close/>
                      <a:moveTo>
                        <a:pt x="0" y="119"/>
                      </a:moveTo>
                      <a:lnTo>
                        <a:pt x="19" y="119"/>
                      </a:lnTo>
                      <a:lnTo>
                        <a:pt x="19" y="124"/>
                      </a:lnTo>
                      <a:lnTo>
                        <a:pt x="0" y="124"/>
                      </a:lnTo>
                      <a:lnTo>
                        <a:pt x="0" y="119"/>
                      </a:lnTo>
                      <a:close/>
                      <a:moveTo>
                        <a:pt x="0" y="0"/>
                      </a:moveTo>
                      <a:lnTo>
                        <a:pt x="19" y="0"/>
                      </a:lnTo>
                      <a:lnTo>
                        <a:pt x="19" y="5"/>
                      </a:lnTo>
                      <a:lnTo>
                        <a:pt x="0" y="5"/>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1074" name="Rectangle 10">
                  <a:extLst>
                    <a:ext uri="{FF2B5EF4-FFF2-40B4-BE49-F238E27FC236}">
                      <a16:creationId xmlns:a16="http://schemas.microsoft.com/office/drawing/2014/main" id="{6E45FCAE-B85E-B444-943D-58B2B446C5C5}"/>
                    </a:ext>
                  </a:extLst>
                </p:cNvPr>
                <p:cNvSpPr>
                  <a:spLocks noChangeArrowheads="1"/>
                </p:cNvSpPr>
                <p:nvPr/>
              </p:nvSpPr>
              <p:spPr bwMode="auto">
                <a:xfrm>
                  <a:off x="2016125" y="2532063"/>
                  <a:ext cx="2419350" cy="6350"/>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1075" name="Freeform 11">
                  <a:extLst>
                    <a:ext uri="{FF2B5EF4-FFF2-40B4-BE49-F238E27FC236}">
                      <a16:creationId xmlns:a16="http://schemas.microsoft.com/office/drawing/2014/main" id="{A8DBB4EF-6DBE-CEA6-BB84-64D92388BFB0}"/>
                    </a:ext>
                  </a:extLst>
                </p:cNvPr>
                <p:cNvSpPr>
                  <a:spLocks noEditPoints="1"/>
                </p:cNvSpPr>
                <p:nvPr/>
              </p:nvSpPr>
              <p:spPr bwMode="auto">
                <a:xfrm>
                  <a:off x="2012950" y="2535238"/>
                  <a:ext cx="2425700" cy="30163"/>
                </a:xfrm>
                <a:custGeom>
                  <a:avLst/>
                  <a:gdLst>
                    <a:gd name="T0" fmla="*/ 0 w 1528"/>
                    <a:gd name="T1" fmla="*/ 2147483647 h 19"/>
                    <a:gd name="T2" fmla="*/ 2147483647 w 1528"/>
                    <a:gd name="T3" fmla="*/ 0 h 19"/>
                    <a:gd name="T4" fmla="*/ 2147483647 w 1528"/>
                    <a:gd name="T5" fmla="*/ 0 h 19"/>
                    <a:gd name="T6" fmla="*/ 2147483647 w 1528"/>
                    <a:gd name="T7" fmla="*/ 2147483647 h 19"/>
                    <a:gd name="T8" fmla="*/ 2147483647 w 1528"/>
                    <a:gd name="T9" fmla="*/ 0 h 19"/>
                    <a:gd name="T10" fmla="*/ 2147483647 w 1528"/>
                    <a:gd name="T11" fmla="*/ 2147483647 h 19"/>
                    <a:gd name="T12" fmla="*/ 2147483647 w 1528"/>
                    <a:gd name="T13" fmla="*/ 0 h 19"/>
                    <a:gd name="T14" fmla="*/ 2147483647 w 1528"/>
                    <a:gd name="T15" fmla="*/ 0 h 19"/>
                    <a:gd name="T16" fmla="*/ 2147483647 w 1528"/>
                    <a:gd name="T17" fmla="*/ 2147483647 h 19"/>
                    <a:gd name="T18" fmla="*/ 2147483647 w 1528"/>
                    <a:gd name="T19" fmla="*/ 0 h 19"/>
                    <a:gd name="T20" fmla="*/ 2147483647 w 1528"/>
                    <a:gd name="T21" fmla="*/ 2147483647 h 19"/>
                    <a:gd name="T22" fmla="*/ 2147483647 w 1528"/>
                    <a:gd name="T23" fmla="*/ 0 h 19"/>
                    <a:gd name="T24" fmla="*/ 2147483647 w 1528"/>
                    <a:gd name="T25" fmla="*/ 0 h 19"/>
                    <a:gd name="T26" fmla="*/ 2147483647 w 1528"/>
                    <a:gd name="T27" fmla="*/ 2147483647 h 19"/>
                    <a:gd name="T28" fmla="*/ 2147483647 w 1528"/>
                    <a:gd name="T29" fmla="*/ 0 h 19"/>
                    <a:gd name="T30" fmla="*/ 2147483647 w 1528"/>
                    <a:gd name="T31" fmla="*/ 2147483647 h 19"/>
                    <a:gd name="T32" fmla="*/ 2147483647 w 1528"/>
                    <a:gd name="T33" fmla="*/ 0 h 19"/>
                    <a:gd name="T34" fmla="*/ 2147483647 w 1528"/>
                    <a:gd name="T35" fmla="*/ 0 h 19"/>
                    <a:gd name="T36" fmla="*/ 2147483647 w 1528"/>
                    <a:gd name="T37" fmla="*/ 2147483647 h 19"/>
                    <a:gd name="T38" fmla="*/ 2147483647 w 1528"/>
                    <a:gd name="T39" fmla="*/ 0 h 19"/>
                    <a:gd name="T40" fmla="*/ 2147483647 w 1528"/>
                    <a:gd name="T41" fmla="*/ 2147483647 h 19"/>
                    <a:gd name="T42" fmla="*/ 2147483647 w 1528"/>
                    <a:gd name="T43" fmla="*/ 0 h 19"/>
                    <a:gd name="T44" fmla="*/ 2147483647 w 1528"/>
                    <a:gd name="T45" fmla="*/ 0 h 19"/>
                    <a:gd name="T46" fmla="*/ 2147483647 w 1528"/>
                    <a:gd name="T47" fmla="*/ 2147483647 h 19"/>
                    <a:gd name="T48" fmla="*/ 2147483647 w 1528"/>
                    <a:gd name="T49" fmla="*/ 0 h 19"/>
                    <a:gd name="T50" fmla="*/ 2147483647 w 1528"/>
                    <a:gd name="T51" fmla="*/ 2147483647 h 19"/>
                    <a:gd name="T52" fmla="*/ 2147483647 w 1528"/>
                    <a:gd name="T53" fmla="*/ 0 h 19"/>
                    <a:gd name="T54" fmla="*/ 2147483647 w 1528"/>
                    <a:gd name="T55" fmla="*/ 0 h 19"/>
                    <a:gd name="T56" fmla="*/ 2147483647 w 1528"/>
                    <a:gd name="T57" fmla="*/ 2147483647 h 19"/>
                    <a:gd name="T58" fmla="*/ 2147483647 w 1528"/>
                    <a:gd name="T59" fmla="*/ 0 h 19"/>
                    <a:gd name="T60" fmla="*/ 2147483647 w 1528"/>
                    <a:gd name="T61" fmla="*/ 2147483647 h 19"/>
                    <a:gd name="T62" fmla="*/ 2147483647 w 1528"/>
                    <a:gd name="T63" fmla="*/ 0 h 19"/>
                    <a:gd name="T64" fmla="*/ 2147483647 w 1528"/>
                    <a:gd name="T65" fmla="*/ 0 h 19"/>
                    <a:gd name="T66" fmla="*/ 2147483647 w 1528"/>
                    <a:gd name="T67" fmla="*/ 2147483647 h 19"/>
                    <a:gd name="T68" fmla="*/ 2147483647 w 1528"/>
                    <a:gd name="T69" fmla="*/ 0 h 19"/>
                    <a:gd name="T70" fmla="*/ 2147483647 w 1528"/>
                    <a:gd name="T71" fmla="*/ 2147483647 h 19"/>
                    <a:gd name="T72" fmla="*/ 2147483647 w 1528"/>
                    <a:gd name="T73" fmla="*/ 0 h 19"/>
                    <a:gd name="T74" fmla="*/ 2147483647 w 1528"/>
                    <a:gd name="T75" fmla="*/ 0 h 19"/>
                    <a:gd name="T76" fmla="*/ 2147483647 w 1528"/>
                    <a:gd name="T77" fmla="*/ 2147483647 h 19"/>
                    <a:gd name="T78" fmla="*/ 2147483647 w 1528"/>
                    <a:gd name="T79" fmla="*/ 0 h 19"/>
                    <a:gd name="T80" fmla="*/ 2147483647 w 1528"/>
                    <a:gd name="T81" fmla="*/ 2147483647 h 19"/>
                    <a:gd name="T82" fmla="*/ 2147483647 w 1528"/>
                    <a:gd name="T83" fmla="*/ 0 h 19"/>
                    <a:gd name="T84" fmla="*/ 2147483647 w 1528"/>
                    <a:gd name="T85" fmla="*/ 0 h 19"/>
                    <a:gd name="T86" fmla="*/ 2147483647 w 1528"/>
                    <a:gd name="T87" fmla="*/ 2147483647 h 19"/>
                    <a:gd name="T88" fmla="*/ 2147483647 w 1528"/>
                    <a:gd name="T89" fmla="*/ 0 h 19"/>
                    <a:gd name="T90" fmla="*/ 2147483647 w 1528"/>
                    <a:gd name="T91" fmla="*/ 2147483647 h 19"/>
                    <a:gd name="T92" fmla="*/ 2147483647 w 1528"/>
                    <a:gd name="T93" fmla="*/ 0 h 19"/>
                    <a:gd name="T94" fmla="*/ 2147483647 w 1528"/>
                    <a:gd name="T95" fmla="*/ 0 h 19"/>
                    <a:gd name="T96" fmla="*/ 2147483647 w 1528"/>
                    <a:gd name="T97" fmla="*/ 2147483647 h 19"/>
                    <a:gd name="T98" fmla="*/ 2147483647 w 1528"/>
                    <a:gd name="T99" fmla="*/ 0 h 19"/>
                    <a:gd name="T100" fmla="*/ 2147483647 w 1528"/>
                    <a:gd name="T101" fmla="*/ 2147483647 h 19"/>
                    <a:gd name="T102" fmla="*/ 2147483647 w 1528"/>
                    <a:gd name="T103" fmla="*/ 0 h 19"/>
                    <a:gd name="T104" fmla="*/ 2147483647 w 1528"/>
                    <a:gd name="T105" fmla="*/ 0 h 1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28" h="19">
                      <a:moveTo>
                        <a:pt x="4" y="0"/>
                      </a:moveTo>
                      <a:lnTo>
                        <a:pt x="4" y="19"/>
                      </a:lnTo>
                      <a:lnTo>
                        <a:pt x="0" y="19"/>
                      </a:lnTo>
                      <a:lnTo>
                        <a:pt x="0" y="0"/>
                      </a:lnTo>
                      <a:lnTo>
                        <a:pt x="4" y="0"/>
                      </a:lnTo>
                      <a:close/>
                      <a:moveTo>
                        <a:pt x="53" y="0"/>
                      </a:moveTo>
                      <a:lnTo>
                        <a:pt x="53" y="19"/>
                      </a:lnTo>
                      <a:lnTo>
                        <a:pt x="49" y="19"/>
                      </a:lnTo>
                      <a:lnTo>
                        <a:pt x="49" y="0"/>
                      </a:lnTo>
                      <a:lnTo>
                        <a:pt x="53" y="0"/>
                      </a:lnTo>
                      <a:close/>
                      <a:moveTo>
                        <a:pt x="102" y="0"/>
                      </a:moveTo>
                      <a:lnTo>
                        <a:pt x="102" y="19"/>
                      </a:lnTo>
                      <a:lnTo>
                        <a:pt x="98" y="19"/>
                      </a:lnTo>
                      <a:lnTo>
                        <a:pt x="98" y="0"/>
                      </a:lnTo>
                      <a:lnTo>
                        <a:pt x="102" y="0"/>
                      </a:lnTo>
                      <a:close/>
                      <a:moveTo>
                        <a:pt x="152" y="0"/>
                      </a:moveTo>
                      <a:lnTo>
                        <a:pt x="152" y="19"/>
                      </a:lnTo>
                      <a:lnTo>
                        <a:pt x="147" y="19"/>
                      </a:lnTo>
                      <a:lnTo>
                        <a:pt x="147" y="0"/>
                      </a:lnTo>
                      <a:lnTo>
                        <a:pt x="152" y="0"/>
                      </a:lnTo>
                      <a:close/>
                      <a:moveTo>
                        <a:pt x="201" y="0"/>
                      </a:moveTo>
                      <a:lnTo>
                        <a:pt x="201" y="19"/>
                      </a:lnTo>
                      <a:lnTo>
                        <a:pt x="197" y="19"/>
                      </a:lnTo>
                      <a:lnTo>
                        <a:pt x="197" y="0"/>
                      </a:lnTo>
                      <a:lnTo>
                        <a:pt x="201" y="0"/>
                      </a:lnTo>
                      <a:close/>
                      <a:moveTo>
                        <a:pt x="250" y="0"/>
                      </a:moveTo>
                      <a:lnTo>
                        <a:pt x="250" y="19"/>
                      </a:lnTo>
                      <a:lnTo>
                        <a:pt x="246" y="19"/>
                      </a:lnTo>
                      <a:lnTo>
                        <a:pt x="246" y="0"/>
                      </a:lnTo>
                      <a:lnTo>
                        <a:pt x="250" y="0"/>
                      </a:lnTo>
                      <a:close/>
                      <a:moveTo>
                        <a:pt x="299" y="0"/>
                      </a:moveTo>
                      <a:lnTo>
                        <a:pt x="299" y="19"/>
                      </a:lnTo>
                      <a:lnTo>
                        <a:pt x="295" y="19"/>
                      </a:lnTo>
                      <a:lnTo>
                        <a:pt x="295" y="0"/>
                      </a:lnTo>
                      <a:lnTo>
                        <a:pt x="299" y="0"/>
                      </a:lnTo>
                      <a:close/>
                      <a:moveTo>
                        <a:pt x="348" y="0"/>
                      </a:moveTo>
                      <a:lnTo>
                        <a:pt x="348" y="19"/>
                      </a:lnTo>
                      <a:lnTo>
                        <a:pt x="343" y="19"/>
                      </a:lnTo>
                      <a:lnTo>
                        <a:pt x="343" y="0"/>
                      </a:lnTo>
                      <a:lnTo>
                        <a:pt x="348" y="0"/>
                      </a:lnTo>
                      <a:close/>
                      <a:moveTo>
                        <a:pt x="397" y="0"/>
                      </a:moveTo>
                      <a:lnTo>
                        <a:pt x="397" y="19"/>
                      </a:lnTo>
                      <a:lnTo>
                        <a:pt x="393" y="19"/>
                      </a:lnTo>
                      <a:lnTo>
                        <a:pt x="393" y="0"/>
                      </a:lnTo>
                      <a:lnTo>
                        <a:pt x="397" y="0"/>
                      </a:lnTo>
                      <a:close/>
                      <a:moveTo>
                        <a:pt x="446" y="0"/>
                      </a:moveTo>
                      <a:lnTo>
                        <a:pt x="446" y="19"/>
                      </a:lnTo>
                      <a:lnTo>
                        <a:pt x="442" y="19"/>
                      </a:lnTo>
                      <a:lnTo>
                        <a:pt x="442" y="0"/>
                      </a:lnTo>
                      <a:lnTo>
                        <a:pt x="446" y="0"/>
                      </a:lnTo>
                      <a:close/>
                      <a:moveTo>
                        <a:pt x="495" y="0"/>
                      </a:moveTo>
                      <a:lnTo>
                        <a:pt x="495" y="19"/>
                      </a:lnTo>
                      <a:lnTo>
                        <a:pt x="491" y="19"/>
                      </a:lnTo>
                      <a:lnTo>
                        <a:pt x="491" y="0"/>
                      </a:lnTo>
                      <a:lnTo>
                        <a:pt x="495" y="0"/>
                      </a:lnTo>
                      <a:close/>
                      <a:moveTo>
                        <a:pt x="545" y="0"/>
                      </a:moveTo>
                      <a:lnTo>
                        <a:pt x="545" y="19"/>
                      </a:lnTo>
                      <a:lnTo>
                        <a:pt x="540" y="19"/>
                      </a:lnTo>
                      <a:lnTo>
                        <a:pt x="540" y="0"/>
                      </a:lnTo>
                      <a:lnTo>
                        <a:pt x="545" y="0"/>
                      </a:lnTo>
                      <a:close/>
                      <a:moveTo>
                        <a:pt x="594" y="0"/>
                      </a:moveTo>
                      <a:lnTo>
                        <a:pt x="594" y="19"/>
                      </a:lnTo>
                      <a:lnTo>
                        <a:pt x="590" y="19"/>
                      </a:lnTo>
                      <a:lnTo>
                        <a:pt x="590" y="0"/>
                      </a:lnTo>
                      <a:lnTo>
                        <a:pt x="594" y="0"/>
                      </a:lnTo>
                      <a:close/>
                      <a:moveTo>
                        <a:pt x="643" y="0"/>
                      </a:moveTo>
                      <a:lnTo>
                        <a:pt x="643" y="19"/>
                      </a:lnTo>
                      <a:lnTo>
                        <a:pt x="639" y="19"/>
                      </a:lnTo>
                      <a:lnTo>
                        <a:pt x="639" y="0"/>
                      </a:lnTo>
                      <a:lnTo>
                        <a:pt x="643" y="0"/>
                      </a:lnTo>
                      <a:close/>
                      <a:moveTo>
                        <a:pt x="692" y="0"/>
                      </a:moveTo>
                      <a:lnTo>
                        <a:pt x="692" y="19"/>
                      </a:lnTo>
                      <a:lnTo>
                        <a:pt x="688" y="19"/>
                      </a:lnTo>
                      <a:lnTo>
                        <a:pt x="688" y="0"/>
                      </a:lnTo>
                      <a:lnTo>
                        <a:pt x="692" y="0"/>
                      </a:lnTo>
                      <a:close/>
                      <a:moveTo>
                        <a:pt x="741" y="0"/>
                      </a:moveTo>
                      <a:lnTo>
                        <a:pt x="741" y="19"/>
                      </a:lnTo>
                      <a:lnTo>
                        <a:pt x="737" y="19"/>
                      </a:lnTo>
                      <a:lnTo>
                        <a:pt x="737" y="0"/>
                      </a:lnTo>
                      <a:lnTo>
                        <a:pt x="741" y="0"/>
                      </a:lnTo>
                      <a:close/>
                      <a:moveTo>
                        <a:pt x="791" y="0"/>
                      </a:moveTo>
                      <a:lnTo>
                        <a:pt x="791" y="19"/>
                      </a:lnTo>
                      <a:lnTo>
                        <a:pt x="786" y="19"/>
                      </a:lnTo>
                      <a:lnTo>
                        <a:pt x="786" y="0"/>
                      </a:lnTo>
                      <a:lnTo>
                        <a:pt x="791" y="0"/>
                      </a:lnTo>
                      <a:close/>
                      <a:moveTo>
                        <a:pt x="840" y="0"/>
                      </a:moveTo>
                      <a:lnTo>
                        <a:pt x="840" y="19"/>
                      </a:lnTo>
                      <a:lnTo>
                        <a:pt x="836" y="19"/>
                      </a:lnTo>
                      <a:lnTo>
                        <a:pt x="836" y="0"/>
                      </a:lnTo>
                      <a:lnTo>
                        <a:pt x="840" y="0"/>
                      </a:lnTo>
                      <a:close/>
                      <a:moveTo>
                        <a:pt x="889" y="0"/>
                      </a:moveTo>
                      <a:lnTo>
                        <a:pt x="889" y="19"/>
                      </a:lnTo>
                      <a:lnTo>
                        <a:pt x="885" y="19"/>
                      </a:lnTo>
                      <a:lnTo>
                        <a:pt x="885" y="0"/>
                      </a:lnTo>
                      <a:lnTo>
                        <a:pt x="889" y="0"/>
                      </a:lnTo>
                      <a:close/>
                      <a:moveTo>
                        <a:pt x="938" y="0"/>
                      </a:moveTo>
                      <a:lnTo>
                        <a:pt x="938" y="19"/>
                      </a:lnTo>
                      <a:lnTo>
                        <a:pt x="934" y="19"/>
                      </a:lnTo>
                      <a:lnTo>
                        <a:pt x="934" y="0"/>
                      </a:lnTo>
                      <a:lnTo>
                        <a:pt x="938" y="0"/>
                      </a:lnTo>
                      <a:close/>
                      <a:moveTo>
                        <a:pt x="987" y="0"/>
                      </a:moveTo>
                      <a:lnTo>
                        <a:pt x="987" y="19"/>
                      </a:lnTo>
                      <a:lnTo>
                        <a:pt x="983" y="19"/>
                      </a:lnTo>
                      <a:lnTo>
                        <a:pt x="983" y="0"/>
                      </a:lnTo>
                      <a:lnTo>
                        <a:pt x="987" y="0"/>
                      </a:lnTo>
                      <a:close/>
                      <a:moveTo>
                        <a:pt x="1036" y="0"/>
                      </a:moveTo>
                      <a:lnTo>
                        <a:pt x="1036" y="19"/>
                      </a:lnTo>
                      <a:lnTo>
                        <a:pt x="1032" y="19"/>
                      </a:lnTo>
                      <a:lnTo>
                        <a:pt x="1032" y="0"/>
                      </a:lnTo>
                      <a:lnTo>
                        <a:pt x="1036" y="0"/>
                      </a:lnTo>
                      <a:close/>
                      <a:moveTo>
                        <a:pt x="1085" y="0"/>
                      </a:moveTo>
                      <a:lnTo>
                        <a:pt x="1085" y="19"/>
                      </a:lnTo>
                      <a:lnTo>
                        <a:pt x="1081" y="19"/>
                      </a:lnTo>
                      <a:lnTo>
                        <a:pt x="1081" y="0"/>
                      </a:lnTo>
                      <a:lnTo>
                        <a:pt x="1085" y="0"/>
                      </a:lnTo>
                      <a:close/>
                      <a:moveTo>
                        <a:pt x="1134" y="0"/>
                      </a:moveTo>
                      <a:lnTo>
                        <a:pt x="1134" y="19"/>
                      </a:lnTo>
                      <a:lnTo>
                        <a:pt x="1130" y="19"/>
                      </a:lnTo>
                      <a:lnTo>
                        <a:pt x="1130" y="0"/>
                      </a:lnTo>
                      <a:lnTo>
                        <a:pt x="1134" y="0"/>
                      </a:lnTo>
                      <a:close/>
                      <a:moveTo>
                        <a:pt x="1184" y="0"/>
                      </a:moveTo>
                      <a:lnTo>
                        <a:pt x="1184" y="19"/>
                      </a:lnTo>
                      <a:lnTo>
                        <a:pt x="1179" y="19"/>
                      </a:lnTo>
                      <a:lnTo>
                        <a:pt x="1179" y="0"/>
                      </a:lnTo>
                      <a:lnTo>
                        <a:pt x="1184" y="0"/>
                      </a:lnTo>
                      <a:close/>
                      <a:moveTo>
                        <a:pt x="1233" y="0"/>
                      </a:moveTo>
                      <a:lnTo>
                        <a:pt x="1233" y="19"/>
                      </a:lnTo>
                      <a:lnTo>
                        <a:pt x="1229" y="19"/>
                      </a:lnTo>
                      <a:lnTo>
                        <a:pt x="1229" y="0"/>
                      </a:lnTo>
                      <a:lnTo>
                        <a:pt x="1233" y="0"/>
                      </a:lnTo>
                      <a:close/>
                      <a:moveTo>
                        <a:pt x="1282" y="0"/>
                      </a:moveTo>
                      <a:lnTo>
                        <a:pt x="1282" y="19"/>
                      </a:lnTo>
                      <a:lnTo>
                        <a:pt x="1278" y="19"/>
                      </a:lnTo>
                      <a:lnTo>
                        <a:pt x="1278" y="0"/>
                      </a:lnTo>
                      <a:lnTo>
                        <a:pt x="1282" y="0"/>
                      </a:lnTo>
                      <a:close/>
                      <a:moveTo>
                        <a:pt x="1331" y="0"/>
                      </a:moveTo>
                      <a:lnTo>
                        <a:pt x="1331" y="19"/>
                      </a:lnTo>
                      <a:lnTo>
                        <a:pt x="1327" y="19"/>
                      </a:lnTo>
                      <a:lnTo>
                        <a:pt x="1327" y="0"/>
                      </a:lnTo>
                      <a:lnTo>
                        <a:pt x="1331" y="0"/>
                      </a:lnTo>
                      <a:close/>
                      <a:moveTo>
                        <a:pt x="1380" y="0"/>
                      </a:moveTo>
                      <a:lnTo>
                        <a:pt x="1380" y="19"/>
                      </a:lnTo>
                      <a:lnTo>
                        <a:pt x="1376" y="19"/>
                      </a:lnTo>
                      <a:lnTo>
                        <a:pt x="1376" y="0"/>
                      </a:lnTo>
                      <a:lnTo>
                        <a:pt x="1380" y="0"/>
                      </a:lnTo>
                      <a:close/>
                      <a:moveTo>
                        <a:pt x="1430" y="0"/>
                      </a:moveTo>
                      <a:lnTo>
                        <a:pt x="1430" y="19"/>
                      </a:lnTo>
                      <a:lnTo>
                        <a:pt x="1425" y="19"/>
                      </a:lnTo>
                      <a:lnTo>
                        <a:pt x="1425" y="0"/>
                      </a:lnTo>
                      <a:lnTo>
                        <a:pt x="1430" y="0"/>
                      </a:lnTo>
                      <a:close/>
                      <a:moveTo>
                        <a:pt x="1479" y="0"/>
                      </a:moveTo>
                      <a:lnTo>
                        <a:pt x="1479" y="19"/>
                      </a:lnTo>
                      <a:lnTo>
                        <a:pt x="1475" y="19"/>
                      </a:lnTo>
                      <a:lnTo>
                        <a:pt x="1475" y="0"/>
                      </a:lnTo>
                      <a:lnTo>
                        <a:pt x="1479" y="0"/>
                      </a:lnTo>
                      <a:close/>
                      <a:moveTo>
                        <a:pt x="1528" y="0"/>
                      </a:moveTo>
                      <a:lnTo>
                        <a:pt x="1528" y="19"/>
                      </a:lnTo>
                      <a:lnTo>
                        <a:pt x="1524" y="19"/>
                      </a:lnTo>
                      <a:lnTo>
                        <a:pt x="1524" y="0"/>
                      </a:lnTo>
                      <a:lnTo>
                        <a:pt x="1528"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1076" name="Freeform 12">
                  <a:extLst>
                    <a:ext uri="{FF2B5EF4-FFF2-40B4-BE49-F238E27FC236}">
                      <a16:creationId xmlns:a16="http://schemas.microsoft.com/office/drawing/2014/main" id="{167538DC-57FE-63A1-8D5F-C81F9E7B9AAC}"/>
                    </a:ext>
                  </a:extLst>
                </p:cNvPr>
                <p:cNvSpPr>
                  <a:spLocks/>
                </p:cNvSpPr>
                <p:nvPr/>
              </p:nvSpPr>
              <p:spPr bwMode="auto">
                <a:xfrm>
                  <a:off x="2043113" y="1957388"/>
                  <a:ext cx="2363788" cy="588963"/>
                </a:xfrm>
                <a:custGeom>
                  <a:avLst/>
                  <a:gdLst>
                    <a:gd name="T0" fmla="*/ 2147483647 w 16703"/>
                    <a:gd name="T1" fmla="*/ 2147483647 h 4167"/>
                    <a:gd name="T2" fmla="*/ 2147483647 w 16703"/>
                    <a:gd name="T3" fmla="*/ 2147483647 h 4167"/>
                    <a:gd name="T4" fmla="*/ 2147483647 w 16703"/>
                    <a:gd name="T5" fmla="*/ 2147483647 h 4167"/>
                    <a:gd name="T6" fmla="*/ 2147483647 w 16703"/>
                    <a:gd name="T7" fmla="*/ 2147483647 h 4167"/>
                    <a:gd name="T8" fmla="*/ 2147483647 w 16703"/>
                    <a:gd name="T9" fmla="*/ 2147483647 h 4167"/>
                    <a:gd name="T10" fmla="*/ 2147483647 w 16703"/>
                    <a:gd name="T11" fmla="*/ 2147483647 h 4167"/>
                    <a:gd name="T12" fmla="*/ 2147483647 w 16703"/>
                    <a:gd name="T13" fmla="*/ 2147483647 h 4167"/>
                    <a:gd name="T14" fmla="*/ 2147483647 w 16703"/>
                    <a:gd name="T15" fmla="*/ 2147483647 h 4167"/>
                    <a:gd name="T16" fmla="*/ 2147483647 w 16703"/>
                    <a:gd name="T17" fmla="*/ 2147483647 h 4167"/>
                    <a:gd name="T18" fmla="*/ 2147483647 w 16703"/>
                    <a:gd name="T19" fmla="*/ 2147483647 h 4167"/>
                    <a:gd name="T20" fmla="*/ 2147483647 w 16703"/>
                    <a:gd name="T21" fmla="*/ 2147483647 h 4167"/>
                    <a:gd name="T22" fmla="*/ 2147483647 w 16703"/>
                    <a:gd name="T23" fmla="*/ 2147483647 h 4167"/>
                    <a:gd name="T24" fmla="*/ 2147483647 w 16703"/>
                    <a:gd name="T25" fmla="*/ 2147483647 h 4167"/>
                    <a:gd name="T26" fmla="*/ 2147483647 w 16703"/>
                    <a:gd name="T27" fmla="*/ 2147483647 h 4167"/>
                    <a:gd name="T28" fmla="*/ 2147483647 w 16703"/>
                    <a:gd name="T29" fmla="*/ 2147483647 h 4167"/>
                    <a:gd name="T30" fmla="*/ 2147483647 w 16703"/>
                    <a:gd name="T31" fmla="*/ 2147483647 h 4167"/>
                    <a:gd name="T32" fmla="*/ 2147483647 w 16703"/>
                    <a:gd name="T33" fmla="*/ 2147483647 h 4167"/>
                    <a:gd name="T34" fmla="*/ 2147483647 w 16703"/>
                    <a:gd name="T35" fmla="*/ 2147483647 h 4167"/>
                    <a:gd name="T36" fmla="*/ 2147483647 w 16703"/>
                    <a:gd name="T37" fmla="*/ 2147483647 h 4167"/>
                    <a:gd name="T38" fmla="*/ 2147483647 w 16703"/>
                    <a:gd name="T39" fmla="*/ 2147483647 h 4167"/>
                    <a:gd name="T40" fmla="*/ 2147483647 w 16703"/>
                    <a:gd name="T41" fmla="*/ 2147483647 h 4167"/>
                    <a:gd name="T42" fmla="*/ 2147483647 w 16703"/>
                    <a:gd name="T43" fmla="*/ 2147483647 h 4167"/>
                    <a:gd name="T44" fmla="*/ 2147483647 w 16703"/>
                    <a:gd name="T45" fmla="*/ 2147483647 h 4167"/>
                    <a:gd name="T46" fmla="*/ 2147483647 w 16703"/>
                    <a:gd name="T47" fmla="*/ 2147483647 h 4167"/>
                    <a:gd name="T48" fmla="*/ 2147483647 w 16703"/>
                    <a:gd name="T49" fmla="*/ 2147483647 h 4167"/>
                    <a:gd name="T50" fmla="*/ 2147483647 w 16703"/>
                    <a:gd name="T51" fmla="*/ 2147483647 h 4167"/>
                    <a:gd name="T52" fmla="*/ 2147483647 w 16703"/>
                    <a:gd name="T53" fmla="*/ 2147483647 h 4167"/>
                    <a:gd name="T54" fmla="*/ 2147483647 w 16703"/>
                    <a:gd name="T55" fmla="*/ 2147483647 h 4167"/>
                    <a:gd name="T56" fmla="*/ 2147483647 w 16703"/>
                    <a:gd name="T57" fmla="*/ 2147483647 h 4167"/>
                    <a:gd name="T58" fmla="*/ 2147483647 w 16703"/>
                    <a:gd name="T59" fmla="*/ 2147483647 h 4167"/>
                    <a:gd name="T60" fmla="*/ 2147483647 w 16703"/>
                    <a:gd name="T61" fmla="*/ 2147483647 h 4167"/>
                    <a:gd name="T62" fmla="*/ 2147483647 w 16703"/>
                    <a:gd name="T63" fmla="*/ 2147483647 h 41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6703" h="4167">
                      <a:moveTo>
                        <a:pt x="63" y="4017"/>
                      </a:moveTo>
                      <a:lnTo>
                        <a:pt x="615" y="3889"/>
                      </a:lnTo>
                      <a:lnTo>
                        <a:pt x="1166" y="3754"/>
                      </a:lnTo>
                      <a:lnTo>
                        <a:pt x="1718" y="3618"/>
                      </a:lnTo>
                      <a:lnTo>
                        <a:pt x="2270" y="3482"/>
                      </a:lnTo>
                      <a:lnTo>
                        <a:pt x="2823" y="3353"/>
                      </a:lnTo>
                      <a:lnTo>
                        <a:pt x="3374" y="3218"/>
                      </a:lnTo>
                      <a:lnTo>
                        <a:pt x="3926" y="3082"/>
                      </a:lnTo>
                      <a:lnTo>
                        <a:pt x="4479" y="2953"/>
                      </a:lnTo>
                      <a:lnTo>
                        <a:pt x="5030" y="2818"/>
                      </a:lnTo>
                      <a:lnTo>
                        <a:pt x="5582" y="2682"/>
                      </a:lnTo>
                      <a:lnTo>
                        <a:pt x="6134" y="2546"/>
                      </a:lnTo>
                      <a:lnTo>
                        <a:pt x="6687" y="2417"/>
                      </a:lnTo>
                      <a:lnTo>
                        <a:pt x="7230" y="2282"/>
                      </a:lnTo>
                      <a:lnTo>
                        <a:pt x="7782" y="2146"/>
                      </a:lnTo>
                      <a:lnTo>
                        <a:pt x="8335" y="2017"/>
                      </a:lnTo>
                      <a:lnTo>
                        <a:pt x="8886" y="1882"/>
                      </a:lnTo>
                      <a:lnTo>
                        <a:pt x="9438" y="1746"/>
                      </a:lnTo>
                      <a:lnTo>
                        <a:pt x="9990" y="1610"/>
                      </a:lnTo>
                      <a:lnTo>
                        <a:pt x="10543" y="1481"/>
                      </a:lnTo>
                      <a:lnTo>
                        <a:pt x="11094" y="1346"/>
                      </a:lnTo>
                      <a:lnTo>
                        <a:pt x="11646" y="1210"/>
                      </a:lnTo>
                      <a:lnTo>
                        <a:pt x="12199" y="1081"/>
                      </a:lnTo>
                      <a:lnTo>
                        <a:pt x="12750" y="946"/>
                      </a:lnTo>
                      <a:lnTo>
                        <a:pt x="13302" y="810"/>
                      </a:lnTo>
                      <a:lnTo>
                        <a:pt x="13854" y="674"/>
                      </a:lnTo>
                      <a:lnTo>
                        <a:pt x="14407" y="545"/>
                      </a:lnTo>
                      <a:lnTo>
                        <a:pt x="14950" y="410"/>
                      </a:lnTo>
                      <a:lnTo>
                        <a:pt x="15502" y="274"/>
                      </a:lnTo>
                      <a:lnTo>
                        <a:pt x="16055" y="145"/>
                      </a:lnTo>
                      <a:lnTo>
                        <a:pt x="16606" y="10"/>
                      </a:lnTo>
                      <a:cubicBezTo>
                        <a:pt x="16645" y="0"/>
                        <a:pt x="16684" y="24"/>
                        <a:pt x="16693" y="62"/>
                      </a:cubicBezTo>
                      <a:cubicBezTo>
                        <a:pt x="16703" y="101"/>
                        <a:pt x="16679" y="140"/>
                        <a:pt x="16641" y="149"/>
                      </a:cubicBezTo>
                      <a:lnTo>
                        <a:pt x="16088" y="286"/>
                      </a:lnTo>
                      <a:lnTo>
                        <a:pt x="15537" y="413"/>
                      </a:lnTo>
                      <a:lnTo>
                        <a:pt x="14985" y="549"/>
                      </a:lnTo>
                      <a:lnTo>
                        <a:pt x="14440" y="686"/>
                      </a:lnTo>
                      <a:lnTo>
                        <a:pt x="13889" y="813"/>
                      </a:lnTo>
                      <a:lnTo>
                        <a:pt x="13337" y="949"/>
                      </a:lnTo>
                      <a:lnTo>
                        <a:pt x="12785" y="1085"/>
                      </a:lnTo>
                      <a:lnTo>
                        <a:pt x="12232" y="1222"/>
                      </a:lnTo>
                      <a:lnTo>
                        <a:pt x="11681" y="1349"/>
                      </a:lnTo>
                      <a:lnTo>
                        <a:pt x="11129" y="1485"/>
                      </a:lnTo>
                      <a:lnTo>
                        <a:pt x="10576" y="1622"/>
                      </a:lnTo>
                      <a:lnTo>
                        <a:pt x="10025" y="1749"/>
                      </a:lnTo>
                      <a:lnTo>
                        <a:pt x="9473" y="1885"/>
                      </a:lnTo>
                      <a:lnTo>
                        <a:pt x="8921" y="2021"/>
                      </a:lnTo>
                      <a:lnTo>
                        <a:pt x="8368" y="2158"/>
                      </a:lnTo>
                      <a:lnTo>
                        <a:pt x="7817" y="2285"/>
                      </a:lnTo>
                      <a:lnTo>
                        <a:pt x="7265" y="2421"/>
                      </a:lnTo>
                      <a:lnTo>
                        <a:pt x="6720" y="2558"/>
                      </a:lnTo>
                      <a:lnTo>
                        <a:pt x="6169" y="2685"/>
                      </a:lnTo>
                      <a:lnTo>
                        <a:pt x="5617" y="2821"/>
                      </a:lnTo>
                      <a:lnTo>
                        <a:pt x="5065" y="2957"/>
                      </a:lnTo>
                      <a:lnTo>
                        <a:pt x="4512" y="3094"/>
                      </a:lnTo>
                      <a:lnTo>
                        <a:pt x="3961" y="3221"/>
                      </a:lnTo>
                      <a:lnTo>
                        <a:pt x="3409" y="3357"/>
                      </a:lnTo>
                      <a:lnTo>
                        <a:pt x="2856" y="3494"/>
                      </a:lnTo>
                      <a:lnTo>
                        <a:pt x="2305" y="3621"/>
                      </a:lnTo>
                      <a:lnTo>
                        <a:pt x="1753" y="3757"/>
                      </a:lnTo>
                      <a:lnTo>
                        <a:pt x="1201" y="3893"/>
                      </a:lnTo>
                      <a:lnTo>
                        <a:pt x="648" y="4030"/>
                      </a:lnTo>
                      <a:lnTo>
                        <a:pt x="96" y="4158"/>
                      </a:lnTo>
                      <a:cubicBezTo>
                        <a:pt x="57" y="4167"/>
                        <a:pt x="18" y="4142"/>
                        <a:pt x="9" y="4104"/>
                      </a:cubicBezTo>
                      <a:cubicBezTo>
                        <a:pt x="0" y="4065"/>
                        <a:pt x="24" y="4026"/>
                        <a:pt x="63" y="4017"/>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1077" name="Freeform 13">
                  <a:extLst>
                    <a:ext uri="{FF2B5EF4-FFF2-40B4-BE49-F238E27FC236}">
                      <a16:creationId xmlns:a16="http://schemas.microsoft.com/office/drawing/2014/main" id="{A05B4277-85FA-3B2B-C090-C8850431CC89}"/>
                    </a:ext>
                  </a:extLst>
                </p:cNvPr>
                <p:cNvSpPr>
                  <a:spLocks/>
                </p:cNvSpPr>
                <p:nvPr/>
              </p:nvSpPr>
              <p:spPr bwMode="auto">
                <a:xfrm>
                  <a:off x="2020888" y="25019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78" name="Freeform 14">
                  <a:extLst>
                    <a:ext uri="{FF2B5EF4-FFF2-40B4-BE49-F238E27FC236}">
                      <a16:creationId xmlns:a16="http://schemas.microsoft.com/office/drawing/2014/main" id="{D400A3FD-F49C-EAA6-2D6B-CC798E9B7C31}"/>
                    </a:ext>
                  </a:extLst>
                </p:cNvPr>
                <p:cNvSpPr>
                  <a:spLocks noEditPoints="1"/>
                </p:cNvSpPr>
                <p:nvPr/>
              </p:nvSpPr>
              <p:spPr bwMode="auto">
                <a:xfrm>
                  <a:off x="2017713" y="24987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79" name="Freeform 15">
                  <a:extLst>
                    <a:ext uri="{FF2B5EF4-FFF2-40B4-BE49-F238E27FC236}">
                      <a16:creationId xmlns:a16="http://schemas.microsoft.com/office/drawing/2014/main" id="{CF1D673A-CAC4-7AAB-B3F9-15DE480B48A6}"/>
                    </a:ext>
                  </a:extLst>
                </p:cNvPr>
                <p:cNvSpPr>
                  <a:spLocks/>
                </p:cNvSpPr>
                <p:nvPr/>
              </p:nvSpPr>
              <p:spPr bwMode="auto">
                <a:xfrm>
                  <a:off x="2100263" y="248285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0" name="Freeform 16">
                  <a:extLst>
                    <a:ext uri="{FF2B5EF4-FFF2-40B4-BE49-F238E27FC236}">
                      <a16:creationId xmlns:a16="http://schemas.microsoft.com/office/drawing/2014/main" id="{A47F3129-9FE4-1262-C76C-A7B5E52D23BD}"/>
                    </a:ext>
                  </a:extLst>
                </p:cNvPr>
                <p:cNvSpPr>
                  <a:spLocks noEditPoints="1"/>
                </p:cNvSpPr>
                <p:nvPr/>
              </p:nvSpPr>
              <p:spPr bwMode="auto">
                <a:xfrm>
                  <a:off x="2097088" y="2479676"/>
                  <a:ext cx="71438"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81" name="Freeform 17">
                  <a:extLst>
                    <a:ext uri="{FF2B5EF4-FFF2-40B4-BE49-F238E27FC236}">
                      <a16:creationId xmlns:a16="http://schemas.microsoft.com/office/drawing/2014/main" id="{59D98134-E460-5D4A-2958-96AC16315DA2}"/>
                    </a:ext>
                  </a:extLst>
                </p:cNvPr>
                <p:cNvSpPr>
                  <a:spLocks/>
                </p:cNvSpPr>
                <p:nvPr/>
              </p:nvSpPr>
              <p:spPr bwMode="auto">
                <a:xfrm>
                  <a:off x="2178050" y="24638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2" name="Freeform 18">
                  <a:extLst>
                    <a:ext uri="{FF2B5EF4-FFF2-40B4-BE49-F238E27FC236}">
                      <a16:creationId xmlns:a16="http://schemas.microsoft.com/office/drawing/2014/main" id="{43059320-91E1-EA3B-51EC-53B3278946BB}"/>
                    </a:ext>
                  </a:extLst>
                </p:cNvPr>
                <p:cNvSpPr>
                  <a:spLocks noEditPoints="1"/>
                </p:cNvSpPr>
                <p:nvPr/>
              </p:nvSpPr>
              <p:spPr bwMode="auto">
                <a:xfrm>
                  <a:off x="2174875" y="24606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83" name="Freeform 19">
                  <a:extLst>
                    <a:ext uri="{FF2B5EF4-FFF2-40B4-BE49-F238E27FC236}">
                      <a16:creationId xmlns:a16="http://schemas.microsoft.com/office/drawing/2014/main" id="{26B8D68C-9EC3-BAC0-253A-04FDD6BFFA94}"/>
                    </a:ext>
                  </a:extLst>
                </p:cNvPr>
                <p:cNvSpPr>
                  <a:spLocks/>
                </p:cNvSpPr>
                <p:nvPr/>
              </p:nvSpPr>
              <p:spPr bwMode="auto">
                <a:xfrm>
                  <a:off x="2255838" y="2446338"/>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4" name="Freeform 20">
                  <a:extLst>
                    <a:ext uri="{FF2B5EF4-FFF2-40B4-BE49-F238E27FC236}">
                      <a16:creationId xmlns:a16="http://schemas.microsoft.com/office/drawing/2014/main" id="{AC6197A7-52EC-AB7A-B08A-B2445BE444D2}"/>
                    </a:ext>
                  </a:extLst>
                </p:cNvPr>
                <p:cNvSpPr>
                  <a:spLocks noEditPoints="1"/>
                </p:cNvSpPr>
                <p:nvPr/>
              </p:nvSpPr>
              <p:spPr bwMode="auto">
                <a:xfrm>
                  <a:off x="2252663" y="244316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85" name="Freeform 21">
                  <a:extLst>
                    <a:ext uri="{FF2B5EF4-FFF2-40B4-BE49-F238E27FC236}">
                      <a16:creationId xmlns:a16="http://schemas.microsoft.com/office/drawing/2014/main" id="{4AF0EE03-8C01-1426-AB4C-EEBE46DDDDDC}"/>
                    </a:ext>
                  </a:extLst>
                </p:cNvPr>
                <p:cNvSpPr>
                  <a:spLocks/>
                </p:cNvSpPr>
                <p:nvPr/>
              </p:nvSpPr>
              <p:spPr bwMode="auto">
                <a:xfrm>
                  <a:off x="2333625" y="242728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6" name="Freeform 22">
                  <a:extLst>
                    <a:ext uri="{FF2B5EF4-FFF2-40B4-BE49-F238E27FC236}">
                      <a16:creationId xmlns:a16="http://schemas.microsoft.com/office/drawing/2014/main" id="{5007FE45-4FD6-0029-7196-A54C14717D3E}"/>
                    </a:ext>
                  </a:extLst>
                </p:cNvPr>
                <p:cNvSpPr>
                  <a:spLocks noEditPoints="1"/>
                </p:cNvSpPr>
                <p:nvPr/>
              </p:nvSpPr>
              <p:spPr bwMode="auto">
                <a:xfrm>
                  <a:off x="2330450" y="2424113"/>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87" name="Freeform 23">
                  <a:extLst>
                    <a:ext uri="{FF2B5EF4-FFF2-40B4-BE49-F238E27FC236}">
                      <a16:creationId xmlns:a16="http://schemas.microsoft.com/office/drawing/2014/main" id="{98A54E52-ED41-7D92-E916-4DF4FB498C9B}"/>
                    </a:ext>
                  </a:extLst>
                </p:cNvPr>
                <p:cNvSpPr>
                  <a:spLocks/>
                </p:cNvSpPr>
                <p:nvPr/>
              </p:nvSpPr>
              <p:spPr bwMode="auto">
                <a:xfrm>
                  <a:off x="2411413" y="240823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8" name="Freeform 24">
                  <a:extLst>
                    <a:ext uri="{FF2B5EF4-FFF2-40B4-BE49-F238E27FC236}">
                      <a16:creationId xmlns:a16="http://schemas.microsoft.com/office/drawing/2014/main" id="{FF082FAC-CAD3-E88B-4680-B9300B31CFD8}"/>
                    </a:ext>
                  </a:extLst>
                </p:cNvPr>
                <p:cNvSpPr>
                  <a:spLocks noEditPoints="1"/>
                </p:cNvSpPr>
                <p:nvPr/>
              </p:nvSpPr>
              <p:spPr bwMode="auto">
                <a:xfrm>
                  <a:off x="2408238" y="2405063"/>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89" name="Freeform 25">
                  <a:extLst>
                    <a:ext uri="{FF2B5EF4-FFF2-40B4-BE49-F238E27FC236}">
                      <a16:creationId xmlns:a16="http://schemas.microsoft.com/office/drawing/2014/main" id="{0875C86E-C5E4-34D8-B50E-604ADD12C38D}"/>
                    </a:ext>
                  </a:extLst>
                </p:cNvPr>
                <p:cNvSpPr>
                  <a:spLocks/>
                </p:cNvSpPr>
                <p:nvPr/>
              </p:nvSpPr>
              <p:spPr bwMode="auto">
                <a:xfrm>
                  <a:off x="2489200" y="238918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0" name="Freeform 26">
                  <a:extLst>
                    <a:ext uri="{FF2B5EF4-FFF2-40B4-BE49-F238E27FC236}">
                      <a16:creationId xmlns:a16="http://schemas.microsoft.com/office/drawing/2014/main" id="{211CA882-A352-1105-0D4E-32E253BDFFD6}"/>
                    </a:ext>
                  </a:extLst>
                </p:cNvPr>
                <p:cNvSpPr>
                  <a:spLocks noEditPoints="1"/>
                </p:cNvSpPr>
                <p:nvPr/>
              </p:nvSpPr>
              <p:spPr bwMode="auto">
                <a:xfrm>
                  <a:off x="2486025" y="23860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91" name="Freeform 27">
                  <a:extLst>
                    <a:ext uri="{FF2B5EF4-FFF2-40B4-BE49-F238E27FC236}">
                      <a16:creationId xmlns:a16="http://schemas.microsoft.com/office/drawing/2014/main" id="{63902973-EB42-3ED0-6C2A-66667C94DFCA}"/>
                    </a:ext>
                  </a:extLst>
                </p:cNvPr>
                <p:cNvSpPr>
                  <a:spLocks/>
                </p:cNvSpPr>
                <p:nvPr/>
              </p:nvSpPr>
              <p:spPr bwMode="auto">
                <a:xfrm>
                  <a:off x="2566988" y="237013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2" name="Freeform 28">
                  <a:extLst>
                    <a:ext uri="{FF2B5EF4-FFF2-40B4-BE49-F238E27FC236}">
                      <a16:creationId xmlns:a16="http://schemas.microsoft.com/office/drawing/2014/main" id="{7F402C30-82A0-9234-CDAC-7B812643012B}"/>
                    </a:ext>
                  </a:extLst>
                </p:cNvPr>
                <p:cNvSpPr>
                  <a:spLocks noEditPoints="1"/>
                </p:cNvSpPr>
                <p:nvPr/>
              </p:nvSpPr>
              <p:spPr bwMode="auto">
                <a:xfrm>
                  <a:off x="2563813" y="236696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93" name="Freeform 29">
                  <a:extLst>
                    <a:ext uri="{FF2B5EF4-FFF2-40B4-BE49-F238E27FC236}">
                      <a16:creationId xmlns:a16="http://schemas.microsoft.com/office/drawing/2014/main" id="{90CDE875-35F4-9203-7327-6AEDE7CE9942}"/>
                    </a:ext>
                  </a:extLst>
                </p:cNvPr>
                <p:cNvSpPr>
                  <a:spLocks/>
                </p:cNvSpPr>
                <p:nvPr/>
              </p:nvSpPr>
              <p:spPr bwMode="auto">
                <a:xfrm>
                  <a:off x="2644775" y="235108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4" name="Freeform 30">
                  <a:extLst>
                    <a:ext uri="{FF2B5EF4-FFF2-40B4-BE49-F238E27FC236}">
                      <a16:creationId xmlns:a16="http://schemas.microsoft.com/office/drawing/2014/main" id="{14E6F59D-4AC4-8AEA-DF52-04E3A2F4945F}"/>
                    </a:ext>
                  </a:extLst>
                </p:cNvPr>
                <p:cNvSpPr>
                  <a:spLocks noEditPoints="1"/>
                </p:cNvSpPr>
                <p:nvPr/>
              </p:nvSpPr>
              <p:spPr bwMode="auto">
                <a:xfrm>
                  <a:off x="2641600" y="23479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95" name="Freeform 31">
                  <a:extLst>
                    <a:ext uri="{FF2B5EF4-FFF2-40B4-BE49-F238E27FC236}">
                      <a16:creationId xmlns:a16="http://schemas.microsoft.com/office/drawing/2014/main" id="{42B327E5-89C4-ED4C-4E90-76149E563FD7}"/>
                    </a:ext>
                  </a:extLst>
                </p:cNvPr>
                <p:cNvSpPr>
                  <a:spLocks/>
                </p:cNvSpPr>
                <p:nvPr/>
              </p:nvSpPr>
              <p:spPr bwMode="auto">
                <a:xfrm>
                  <a:off x="2724150" y="2332038"/>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6" name="Freeform 32">
                  <a:extLst>
                    <a:ext uri="{FF2B5EF4-FFF2-40B4-BE49-F238E27FC236}">
                      <a16:creationId xmlns:a16="http://schemas.microsoft.com/office/drawing/2014/main" id="{35D55694-8FDC-DA5B-5399-0C22B450862C}"/>
                    </a:ext>
                  </a:extLst>
                </p:cNvPr>
                <p:cNvSpPr>
                  <a:spLocks noEditPoints="1"/>
                </p:cNvSpPr>
                <p:nvPr/>
              </p:nvSpPr>
              <p:spPr bwMode="auto">
                <a:xfrm>
                  <a:off x="2719388" y="232886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97" name="Freeform 33">
                  <a:extLst>
                    <a:ext uri="{FF2B5EF4-FFF2-40B4-BE49-F238E27FC236}">
                      <a16:creationId xmlns:a16="http://schemas.microsoft.com/office/drawing/2014/main" id="{5DBE5D03-FBF1-4458-5B12-30C1872BB80F}"/>
                    </a:ext>
                  </a:extLst>
                </p:cNvPr>
                <p:cNvSpPr>
                  <a:spLocks/>
                </p:cNvSpPr>
                <p:nvPr/>
              </p:nvSpPr>
              <p:spPr bwMode="auto">
                <a:xfrm>
                  <a:off x="2801938" y="231457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8" name="Freeform 34">
                  <a:extLst>
                    <a:ext uri="{FF2B5EF4-FFF2-40B4-BE49-F238E27FC236}">
                      <a16:creationId xmlns:a16="http://schemas.microsoft.com/office/drawing/2014/main" id="{1CE09500-1ED8-9692-BD8D-8FE8B884CE0E}"/>
                    </a:ext>
                  </a:extLst>
                </p:cNvPr>
                <p:cNvSpPr>
                  <a:spLocks noEditPoints="1"/>
                </p:cNvSpPr>
                <p:nvPr/>
              </p:nvSpPr>
              <p:spPr bwMode="auto">
                <a:xfrm>
                  <a:off x="2798763" y="23098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99" name="Freeform 35">
                  <a:extLst>
                    <a:ext uri="{FF2B5EF4-FFF2-40B4-BE49-F238E27FC236}">
                      <a16:creationId xmlns:a16="http://schemas.microsoft.com/office/drawing/2014/main" id="{3556F718-4370-F5A3-74A0-71183AC5E99F}"/>
                    </a:ext>
                  </a:extLst>
                </p:cNvPr>
                <p:cNvSpPr>
                  <a:spLocks/>
                </p:cNvSpPr>
                <p:nvPr/>
              </p:nvSpPr>
              <p:spPr bwMode="auto">
                <a:xfrm>
                  <a:off x="2879725" y="229393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0" name="Freeform 36">
                  <a:extLst>
                    <a:ext uri="{FF2B5EF4-FFF2-40B4-BE49-F238E27FC236}">
                      <a16:creationId xmlns:a16="http://schemas.microsoft.com/office/drawing/2014/main" id="{58221D2D-5478-2582-1642-381E8C670F16}"/>
                    </a:ext>
                  </a:extLst>
                </p:cNvPr>
                <p:cNvSpPr>
                  <a:spLocks noEditPoints="1"/>
                </p:cNvSpPr>
                <p:nvPr/>
              </p:nvSpPr>
              <p:spPr bwMode="auto">
                <a:xfrm>
                  <a:off x="2876550" y="229076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01" name="Freeform 37">
                  <a:extLst>
                    <a:ext uri="{FF2B5EF4-FFF2-40B4-BE49-F238E27FC236}">
                      <a16:creationId xmlns:a16="http://schemas.microsoft.com/office/drawing/2014/main" id="{52FE6C25-18A7-6B68-2490-1B5A86057DB7}"/>
                    </a:ext>
                  </a:extLst>
                </p:cNvPr>
                <p:cNvSpPr>
                  <a:spLocks/>
                </p:cNvSpPr>
                <p:nvPr/>
              </p:nvSpPr>
              <p:spPr bwMode="auto">
                <a:xfrm>
                  <a:off x="2957513" y="2274888"/>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2" name="Freeform 38">
                  <a:extLst>
                    <a:ext uri="{FF2B5EF4-FFF2-40B4-BE49-F238E27FC236}">
                      <a16:creationId xmlns:a16="http://schemas.microsoft.com/office/drawing/2014/main" id="{D2F257F7-1454-F11B-438B-63D8F4F36AC5}"/>
                    </a:ext>
                  </a:extLst>
                </p:cNvPr>
                <p:cNvSpPr>
                  <a:spLocks noEditPoints="1"/>
                </p:cNvSpPr>
                <p:nvPr/>
              </p:nvSpPr>
              <p:spPr bwMode="auto">
                <a:xfrm>
                  <a:off x="2954338" y="22717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03" name="Freeform 39">
                  <a:extLst>
                    <a:ext uri="{FF2B5EF4-FFF2-40B4-BE49-F238E27FC236}">
                      <a16:creationId xmlns:a16="http://schemas.microsoft.com/office/drawing/2014/main" id="{C888E09B-C917-63AF-E4E7-6FF07A271DA8}"/>
                    </a:ext>
                  </a:extLst>
                </p:cNvPr>
                <p:cNvSpPr>
                  <a:spLocks/>
                </p:cNvSpPr>
                <p:nvPr/>
              </p:nvSpPr>
              <p:spPr bwMode="auto">
                <a:xfrm>
                  <a:off x="3035300" y="2257426"/>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4" name="Freeform 40">
                  <a:extLst>
                    <a:ext uri="{FF2B5EF4-FFF2-40B4-BE49-F238E27FC236}">
                      <a16:creationId xmlns:a16="http://schemas.microsoft.com/office/drawing/2014/main" id="{F3FB3CF9-EB22-AD7C-88A4-EAAA5FE16262}"/>
                    </a:ext>
                  </a:extLst>
                </p:cNvPr>
                <p:cNvSpPr>
                  <a:spLocks noEditPoints="1"/>
                </p:cNvSpPr>
                <p:nvPr/>
              </p:nvSpPr>
              <p:spPr bwMode="auto">
                <a:xfrm>
                  <a:off x="3032125" y="22542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05" name="Freeform 41">
                  <a:extLst>
                    <a:ext uri="{FF2B5EF4-FFF2-40B4-BE49-F238E27FC236}">
                      <a16:creationId xmlns:a16="http://schemas.microsoft.com/office/drawing/2014/main" id="{FA04A143-106B-A1C7-C43D-A5117DF871AD}"/>
                    </a:ext>
                  </a:extLst>
                </p:cNvPr>
                <p:cNvSpPr>
                  <a:spLocks/>
                </p:cNvSpPr>
                <p:nvPr/>
              </p:nvSpPr>
              <p:spPr bwMode="auto">
                <a:xfrm>
                  <a:off x="3114675" y="223837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6" name="Freeform 42">
                  <a:extLst>
                    <a:ext uri="{FF2B5EF4-FFF2-40B4-BE49-F238E27FC236}">
                      <a16:creationId xmlns:a16="http://schemas.microsoft.com/office/drawing/2014/main" id="{57C0800B-6212-E50A-947F-C50178C4B7A9}"/>
                    </a:ext>
                  </a:extLst>
                </p:cNvPr>
                <p:cNvSpPr>
                  <a:spLocks noEditPoints="1"/>
                </p:cNvSpPr>
                <p:nvPr/>
              </p:nvSpPr>
              <p:spPr bwMode="auto">
                <a:xfrm>
                  <a:off x="3111500" y="2235201"/>
                  <a:ext cx="71438"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07" name="Freeform 43">
                  <a:extLst>
                    <a:ext uri="{FF2B5EF4-FFF2-40B4-BE49-F238E27FC236}">
                      <a16:creationId xmlns:a16="http://schemas.microsoft.com/office/drawing/2014/main" id="{793D5B80-D299-018E-3375-2BE31E11694F}"/>
                    </a:ext>
                  </a:extLst>
                </p:cNvPr>
                <p:cNvSpPr>
                  <a:spLocks/>
                </p:cNvSpPr>
                <p:nvPr/>
              </p:nvSpPr>
              <p:spPr bwMode="auto">
                <a:xfrm>
                  <a:off x="3192463" y="221932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8" name="Freeform 44">
                  <a:extLst>
                    <a:ext uri="{FF2B5EF4-FFF2-40B4-BE49-F238E27FC236}">
                      <a16:creationId xmlns:a16="http://schemas.microsoft.com/office/drawing/2014/main" id="{5369994A-DD94-7610-CF90-0BC57ED86DED}"/>
                    </a:ext>
                  </a:extLst>
                </p:cNvPr>
                <p:cNvSpPr>
                  <a:spLocks noEditPoints="1"/>
                </p:cNvSpPr>
                <p:nvPr/>
              </p:nvSpPr>
              <p:spPr bwMode="auto">
                <a:xfrm>
                  <a:off x="3189288" y="2216151"/>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09" name="Freeform 45">
                  <a:extLst>
                    <a:ext uri="{FF2B5EF4-FFF2-40B4-BE49-F238E27FC236}">
                      <a16:creationId xmlns:a16="http://schemas.microsoft.com/office/drawing/2014/main" id="{83CDF9C1-90D0-4CE0-3B7C-754E3924A1D7}"/>
                    </a:ext>
                  </a:extLst>
                </p:cNvPr>
                <p:cNvSpPr>
                  <a:spLocks/>
                </p:cNvSpPr>
                <p:nvPr/>
              </p:nvSpPr>
              <p:spPr bwMode="auto">
                <a:xfrm>
                  <a:off x="3270250" y="220027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0" name="Freeform 46">
                  <a:extLst>
                    <a:ext uri="{FF2B5EF4-FFF2-40B4-BE49-F238E27FC236}">
                      <a16:creationId xmlns:a16="http://schemas.microsoft.com/office/drawing/2014/main" id="{EF9A87E0-3DBB-4A12-3EF1-8C83EAD46B08}"/>
                    </a:ext>
                  </a:extLst>
                </p:cNvPr>
                <p:cNvSpPr>
                  <a:spLocks noEditPoints="1"/>
                </p:cNvSpPr>
                <p:nvPr/>
              </p:nvSpPr>
              <p:spPr bwMode="auto">
                <a:xfrm>
                  <a:off x="3267075" y="21955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11" name="Freeform 47">
                  <a:extLst>
                    <a:ext uri="{FF2B5EF4-FFF2-40B4-BE49-F238E27FC236}">
                      <a16:creationId xmlns:a16="http://schemas.microsoft.com/office/drawing/2014/main" id="{8CE461E5-20FC-0710-3F66-2D4786C8ECD0}"/>
                    </a:ext>
                  </a:extLst>
                </p:cNvPr>
                <p:cNvSpPr>
                  <a:spLocks/>
                </p:cNvSpPr>
                <p:nvPr/>
              </p:nvSpPr>
              <p:spPr bwMode="auto">
                <a:xfrm>
                  <a:off x="3348038" y="2181226"/>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2" name="Freeform 48">
                  <a:extLst>
                    <a:ext uri="{FF2B5EF4-FFF2-40B4-BE49-F238E27FC236}">
                      <a16:creationId xmlns:a16="http://schemas.microsoft.com/office/drawing/2014/main" id="{8EC97D15-FB79-E52D-4E53-877D6C7EC16C}"/>
                    </a:ext>
                  </a:extLst>
                </p:cNvPr>
                <p:cNvSpPr>
                  <a:spLocks noEditPoints="1"/>
                </p:cNvSpPr>
                <p:nvPr/>
              </p:nvSpPr>
              <p:spPr bwMode="auto">
                <a:xfrm>
                  <a:off x="3344863" y="21780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13" name="Freeform 49">
                  <a:extLst>
                    <a:ext uri="{FF2B5EF4-FFF2-40B4-BE49-F238E27FC236}">
                      <a16:creationId xmlns:a16="http://schemas.microsoft.com/office/drawing/2014/main" id="{65CB56CF-73E7-B3F5-90AB-0D3298FFA9C1}"/>
                    </a:ext>
                  </a:extLst>
                </p:cNvPr>
                <p:cNvSpPr>
                  <a:spLocks/>
                </p:cNvSpPr>
                <p:nvPr/>
              </p:nvSpPr>
              <p:spPr bwMode="auto">
                <a:xfrm>
                  <a:off x="3427413" y="216217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4" name="Freeform 50">
                  <a:extLst>
                    <a:ext uri="{FF2B5EF4-FFF2-40B4-BE49-F238E27FC236}">
                      <a16:creationId xmlns:a16="http://schemas.microsoft.com/office/drawing/2014/main" id="{48BB6051-101F-B0DB-B848-8D7483598BF7}"/>
                    </a:ext>
                  </a:extLst>
                </p:cNvPr>
                <p:cNvSpPr>
                  <a:spLocks noEditPoints="1"/>
                </p:cNvSpPr>
                <p:nvPr/>
              </p:nvSpPr>
              <p:spPr bwMode="auto">
                <a:xfrm>
                  <a:off x="3422650" y="215900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15" name="Freeform 51">
                  <a:extLst>
                    <a:ext uri="{FF2B5EF4-FFF2-40B4-BE49-F238E27FC236}">
                      <a16:creationId xmlns:a16="http://schemas.microsoft.com/office/drawing/2014/main" id="{B802323E-00B0-8DEB-E677-7AF66D4F7129}"/>
                    </a:ext>
                  </a:extLst>
                </p:cNvPr>
                <p:cNvSpPr>
                  <a:spLocks/>
                </p:cNvSpPr>
                <p:nvPr/>
              </p:nvSpPr>
              <p:spPr bwMode="auto">
                <a:xfrm>
                  <a:off x="3505200" y="214312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6" name="Freeform 52">
                  <a:extLst>
                    <a:ext uri="{FF2B5EF4-FFF2-40B4-BE49-F238E27FC236}">
                      <a16:creationId xmlns:a16="http://schemas.microsoft.com/office/drawing/2014/main" id="{976E65DE-8225-F990-6367-76A6B19EE025}"/>
                    </a:ext>
                  </a:extLst>
                </p:cNvPr>
                <p:cNvSpPr>
                  <a:spLocks noEditPoints="1"/>
                </p:cNvSpPr>
                <p:nvPr/>
              </p:nvSpPr>
              <p:spPr bwMode="auto">
                <a:xfrm>
                  <a:off x="3502025" y="2139951"/>
                  <a:ext cx="71438"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17" name="Freeform 53">
                  <a:extLst>
                    <a:ext uri="{FF2B5EF4-FFF2-40B4-BE49-F238E27FC236}">
                      <a16:creationId xmlns:a16="http://schemas.microsoft.com/office/drawing/2014/main" id="{6AB3E37D-B54D-4DBE-2C1A-2C0EC3D7A188}"/>
                    </a:ext>
                  </a:extLst>
                </p:cNvPr>
                <p:cNvSpPr>
                  <a:spLocks/>
                </p:cNvSpPr>
                <p:nvPr/>
              </p:nvSpPr>
              <p:spPr bwMode="auto">
                <a:xfrm>
                  <a:off x="3581400" y="212566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8" name="Freeform 54">
                  <a:extLst>
                    <a:ext uri="{FF2B5EF4-FFF2-40B4-BE49-F238E27FC236}">
                      <a16:creationId xmlns:a16="http://schemas.microsoft.com/office/drawing/2014/main" id="{B6F6AB2C-90F5-DCE6-1D93-254EC4036172}"/>
                    </a:ext>
                  </a:extLst>
                </p:cNvPr>
                <p:cNvSpPr>
                  <a:spLocks noEditPoints="1"/>
                </p:cNvSpPr>
                <p:nvPr/>
              </p:nvSpPr>
              <p:spPr bwMode="auto">
                <a:xfrm>
                  <a:off x="3578225" y="212090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19" name="Freeform 55">
                  <a:extLst>
                    <a:ext uri="{FF2B5EF4-FFF2-40B4-BE49-F238E27FC236}">
                      <a16:creationId xmlns:a16="http://schemas.microsoft.com/office/drawing/2014/main" id="{F6A9C1EC-5C91-8272-0AAE-5D9AC8285CDA}"/>
                    </a:ext>
                  </a:extLst>
                </p:cNvPr>
                <p:cNvSpPr>
                  <a:spLocks/>
                </p:cNvSpPr>
                <p:nvPr/>
              </p:nvSpPr>
              <p:spPr bwMode="auto">
                <a:xfrm>
                  <a:off x="3659188" y="210661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0" name="Freeform 56">
                  <a:extLst>
                    <a:ext uri="{FF2B5EF4-FFF2-40B4-BE49-F238E27FC236}">
                      <a16:creationId xmlns:a16="http://schemas.microsoft.com/office/drawing/2014/main" id="{FA592E3C-70C4-C7AA-ADC9-4A6A52452B36}"/>
                    </a:ext>
                  </a:extLst>
                </p:cNvPr>
                <p:cNvSpPr>
                  <a:spLocks noEditPoints="1"/>
                </p:cNvSpPr>
                <p:nvPr/>
              </p:nvSpPr>
              <p:spPr bwMode="auto">
                <a:xfrm>
                  <a:off x="3656013" y="21018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21" name="Freeform 57">
                  <a:extLst>
                    <a:ext uri="{FF2B5EF4-FFF2-40B4-BE49-F238E27FC236}">
                      <a16:creationId xmlns:a16="http://schemas.microsoft.com/office/drawing/2014/main" id="{59251C0A-7319-3F0F-CB17-83F9BFDCBC9B}"/>
                    </a:ext>
                  </a:extLst>
                </p:cNvPr>
                <p:cNvSpPr>
                  <a:spLocks/>
                </p:cNvSpPr>
                <p:nvPr/>
              </p:nvSpPr>
              <p:spPr bwMode="auto">
                <a:xfrm>
                  <a:off x="3738563" y="208597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2" name="Freeform 58">
                  <a:extLst>
                    <a:ext uri="{FF2B5EF4-FFF2-40B4-BE49-F238E27FC236}">
                      <a16:creationId xmlns:a16="http://schemas.microsoft.com/office/drawing/2014/main" id="{A1FB7A04-420A-31FA-E084-44861E8F862A}"/>
                    </a:ext>
                  </a:extLst>
                </p:cNvPr>
                <p:cNvSpPr>
                  <a:spLocks noEditPoints="1"/>
                </p:cNvSpPr>
                <p:nvPr/>
              </p:nvSpPr>
              <p:spPr bwMode="auto">
                <a:xfrm>
                  <a:off x="3733800" y="208280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23" name="Freeform 59">
                  <a:extLst>
                    <a:ext uri="{FF2B5EF4-FFF2-40B4-BE49-F238E27FC236}">
                      <a16:creationId xmlns:a16="http://schemas.microsoft.com/office/drawing/2014/main" id="{70FEEFDA-8EF6-AC11-323A-5C0664D8AC2F}"/>
                    </a:ext>
                  </a:extLst>
                </p:cNvPr>
                <p:cNvSpPr>
                  <a:spLocks/>
                </p:cNvSpPr>
                <p:nvPr/>
              </p:nvSpPr>
              <p:spPr bwMode="auto">
                <a:xfrm>
                  <a:off x="3816350" y="206692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4" name="Freeform 60">
                  <a:extLst>
                    <a:ext uri="{FF2B5EF4-FFF2-40B4-BE49-F238E27FC236}">
                      <a16:creationId xmlns:a16="http://schemas.microsoft.com/office/drawing/2014/main" id="{669347DA-2E2F-CA45-3079-1F2377B20BE3}"/>
                    </a:ext>
                  </a:extLst>
                </p:cNvPr>
                <p:cNvSpPr>
                  <a:spLocks noEditPoints="1"/>
                </p:cNvSpPr>
                <p:nvPr/>
              </p:nvSpPr>
              <p:spPr bwMode="auto">
                <a:xfrm>
                  <a:off x="3813175" y="20637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25" name="Freeform 61">
                  <a:extLst>
                    <a:ext uri="{FF2B5EF4-FFF2-40B4-BE49-F238E27FC236}">
                      <a16:creationId xmlns:a16="http://schemas.microsoft.com/office/drawing/2014/main" id="{1F55B6E0-D79F-3725-ADDD-52778E070188}"/>
                    </a:ext>
                  </a:extLst>
                </p:cNvPr>
                <p:cNvSpPr>
                  <a:spLocks/>
                </p:cNvSpPr>
                <p:nvPr/>
              </p:nvSpPr>
              <p:spPr bwMode="auto">
                <a:xfrm>
                  <a:off x="3894138" y="204946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6" name="Freeform 62">
                  <a:extLst>
                    <a:ext uri="{FF2B5EF4-FFF2-40B4-BE49-F238E27FC236}">
                      <a16:creationId xmlns:a16="http://schemas.microsoft.com/office/drawing/2014/main" id="{8338D56F-DDAD-6BFC-9AE7-AA81E46F3B5E}"/>
                    </a:ext>
                  </a:extLst>
                </p:cNvPr>
                <p:cNvSpPr>
                  <a:spLocks noEditPoints="1"/>
                </p:cNvSpPr>
                <p:nvPr/>
              </p:nvSpPr>
              <p:spPr bwMode="auto">
                <a:xfrm>
                  <a:off x="3890963" y="2046288"/>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27" name="Freeform 63">
                  <a:extLst>
                    <a:ext uri="{FF2B5EF4-FFF2-40B4-BE49-F238E27FC236}">
                      <a16:creationId xmlns:a16="http://schemas.microsoft.com/office/drawing/2014/main" id="{C9AEC747-891B-76CB-2B80-AA4F3B3F49CF}"/>
                    </a:ext>
                  </a:extLst>
                </p:cNvPr>
                <p:cNvSpPr>
                  <a:spLocks/>
                </p:cNvSpPr>
                <p:nvPr/>
              </p:nvSpPr>
              <p:spPr bwMode="auto">
                <a:xfrm>
                  <a:off x="3971925" y="203041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8" name="Freeform 64">
                  <a:extLst>
                    <a:ext uri="{FF2B5EF4-FFF2-40B4-BE49-F238E27FC236}">
                      <a16:creationId xmlns:a16="http://schemas.microsoft.com/office/drawing/2014/main" id="{9D859932-CF6C-C322-6150-85F419B39944}"/>
                    </a:ext>
                  </a:extLst>
                </p:cNvPr>
                <p:cNvSpPr>
                  <a:spLocks noEditPoints="1"/>
                </p:cNvSpPr>
                <p:nvPr/>
              </p:nvSpPr>
              <p:spPr bwMode="auto">
                <a:xfrm>
                  <a:off x="3968750" y="2027238"/>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29" name="Freeform 65">
                  <a:extLst>
                    <a:ext uri="{FF2B5EF4-FFF2-40B4-BE49-F238E27FC236}">
                      <a16:creationId xmlns:a16="http://schemas.microsoft.com/office/drawing/2014/main" id="{8CF8E253-A725-2F66-E794-D1645A401982}"/>
                    </a:ext>
                  </a:extLst>
                </p:cNvPr>
                <p:cNvSpPr>
                  <a:spLocks/>
                </p:cNvSpPr>
                <p:nvPr/>
              </p:nvSpPr>
              <p:spPr bwMode="auto">
                <a:xfrm>
                  <a:off x="4049713" y="201136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0" name="Freeform 66">
                  <a:extLst>
                    <a:ext uri="{FF2B5EF4-FFF2-40B4-BE49-F238E27FC236}">
                      <a16:creationId xmlns:a16="http://schemas.microsoft.com/office/drawing/2014/main" id="{4EB19739-AB29-D66B-B36D-79CF3DBD1382}"/>
                    </a:ext>
                  </a:extLst>
                </p:cNvPr>
                <p:cNvSpPr>
                  <a:spLocks noEditPoints="1"/>
                </p:cNvSpPr>
                <p:nvPr/>
              </p:nvSpPr>
              <p:spPr bwMode="auto">
                <a:xfrm>
                  <a:off x="4046538" y="2008188"/>
                  <a:ext cx="73025" cy="71438"/>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31" name="Freeform 67">
                  <a:extLst>
                    <a:ext uri="{FF2B5EF4-FFF2-40B4-BE49-F238E27FC236}">
                      <a16:creationId xmlns:a16="http://schemas.microsoft.com/office/drawing/2014/main" id="{1A8926D1-3A72-68E9-E14C-4B3960AD26D6}"/>
                    </a:ext>
                  </a:extLst>
                </p:cNvPr>
                <p:cNvSpPr>
                  <a:spLocks/>
                </p:cNvSpPr>
                <p:nvPr/>
              </p:nvSpPr>
              <p:spPr bwMode="auto">
                <a:xfrm>
                  <a:off x="4129088" y="199231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2" name="Freeform 68">
                  <a:extLst>
                    <a:ext uri="{FF2B5EF4-FFF2-40B4-BE49-F238E27FC236}">
                      <a16:creationId xmlns:a16="http://schemas.microsoft.com/office/drawing/2014/main" id="{E43C9291-B585-F84A-6BFD-97E006946BE6}"/>
                    </a:ext>
                  </a:extLst>
                </p:cNvPr>
                <p:cNvSpPr>
                  <a:spLocks noEditPoints="1"/>
                </p:cNvSpPr>
                <p:nvPr/>
              </p:nvSpPr>
              <p:spPr bwMode="auto">
                <a:xfrm>
                  <a:off x="4125913" y="1987551"/>
                  <a:ext cx="71438"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33" name="Freeform 69">
                  <a:extLst>
                    <a:ext uri="{FF2B5EF4-FFF2-40B4-BE49-F238E27FC236}">
                      <a16:creationId xmlns:a16="http://schemas.microsoft.com/office/drawing/2014/main" id="{C440FE86-6B8A-7C5F-A699-C4181F9C751F}"/>
                    </a:ext>
                  </a:extLst>
                </p:cNvPr>
                <p:cNvSpPr>
                  <a:spLocks/>
                </p:cNvSpPr>
                <p:nvPr/>
              </p:nvSpPr>
              <p:spPr bwMode="auto">
                <a:xfrm>
                  <a:off x="4206875" y="197326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4" name="Freeform 70">
                  <a:extLst>
                    <a:ext uri="{FF2B5EF4-FFF2-40B4-BE49-F238E27FC236}">
                      <a16:creationId xmlns:a16="http://schemas.microsoft.com/office/drawing/2014/main" id="{5E80BDC8-6FC0-2F2E-D7D4-9499FEDBCB41}"/>
                    </a:ext>
                  </a:extLst>
                </p:cNvPr>
                <p:cNvSpPr>
                  <a:spLocks noEditPoints="1"/>
                </p:cNvSpPr>
                <p:nvPr/>
              </p:nvSpPr>
              <p:spPr bwMode="auto">
                <a:xfrm>
                  <a:off x="4203700" y="197008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35" name="Freeform 71">
                  <a:extLst>
                    <a:ext uri="{FF2B5EF4-FFF2-40B4-BE49-F238E27FC236}">
                      <a16:creationId xmlns:a16="http://schemas.microsoft.com/office/drawing/2014/main" id="{A8C570D1-2AFE-DAF9-CBC6-F5110C707A30}"/>
                    </a:ext>
                  </a:extLst>
                </p:cNvPr>
                <p:cNvSpPr>
                  <a:spLocks/>
                </p:cNvSpPr>
                <p:nvPr/>
              </p:nvSpPr>
              <p:spPr bwMode="auto">
                <a:xfrm>
                  <a:off x="4284663" y="195421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6" name="Freeform 72">
                  <a:extLst>
                    <a:ext uri="{FF2B5EF4-FFF2-40B4-BE49-F238E27FC236}">
                      <a16:creationId xmlns:a16="http://schemas.microsoft.com/office/drawing/2014/main" id="{D8AD61FF-3B3B-4CAC-8C9E-41E897ACD645}"/>
                    </a:ext>
                  </a:extLst>
                </p:cNvPr>
                <p:cNvSpPr>
                  <a:spLocks noEditPoints="1"/>
                </p:cNvSpPr>
                <p:nvPr/>
              </p:nvSpPr>
              <p:spPr bwMode="auto">
                <a:xfrm>
                  <a:off x="4281488" y="195103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37" name="Freeform 73">
                  <a:extLst>
                    <a:ext uri="{FF2B5EF4-FFF2-40B4-BE49-F238E27FC236}">
                      <a16:creationId xmlns:a16="http://schemas.microsoft.com/office/drawing/2014/main" id="{74318FE4-2833-F1BD-FFD0-03916F14528B}"/>
                    </a:ext>
                  </a:extLst>
                </p:cNvPr>
                <p:cNvSpPr>
                  <a:spLocks/>
                </p:cNvSpPr>
                <p:nvPr/>
              </p:nvSpPr>
              <p:spPr bwMode="auto">
                <a:xfrm>
                  <a:off x="4362450" y="193516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8" name="Freeform 74">
                  <a:extLst>
                    <a:ext uri="{FF2B5EF4-FFF2-40B4-BE49-F238E27FC236}">
                      <a16:creationId xmlns:a16="http://schemas.microsoft.com/office/drawing/2014/main" id="{22F7E067-71D1-FF75-65D5-BAC4414F9E9A}"/>
                    </a:ext>
                  </a:extLst>
                </p:cNvPr>
                <p:cNvSpPr>
                  <a:spLocks noEditPoints="1"/>
                </p:cNvSpPr>
                <p:nvPr/>
              </p:nvSpPr>
              <p:spPr bwMode="auto">
                <a:xfrm>
                  <a:off x="4359275" y="193198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139" name="Rectangle 75">
                  <a:extLst>
                    <a:ext uri="{FF2B5EF4-FFF2-40B4-BE49-F238E27FC236}">
                      <a16:creationId xmlns:a16="http://schemas.microsoft.com/office/drawing/2014/main" id="{1C41842F-C48A-5100-B906-98F7D2718ED4}"/>
                    </a:ext>
                  </a:extLst>
                </p:cNvPr>
                <p:cNvSpPr>
                  <a:spLocks noChangeArrowheads="1"/>
                </p:cNvSpPr>
                <p:nvPr/>
              </p:nvSpPr>
              <p:spPr bwMode="auto">
                <a:xfrm>
                  <a:off x="1881188" y="2474913"/>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1140" name="Rectangle 76">
                  <a:extLst>
                    <a:ext uri="{FF2B5EF4-FFF2-40B4-BE49-F238E27FC236}">
                      <a16:creationId xmlns:a16="http://schemas.microsoft.com/office/drawing/2014/main" id="{92DF8AE9-4FA6-B4B2-D4A4-9722FD57E280}"/>
                    </a:ext>
                  </a:extLst>
                </p:cNvPr>
                <p:cNvSpPr>
                  <a:spLocks noChangeArrowheads="1"/>
                </p:cNvSpPr>
                <p:nvPr/>
              </p:nvSpPr>
              <p:spPr bwMode="auto">
                <a:xfrm>
                  <a:off x="1881188" y="2284413"/>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5</a:t>
                  </a:r>
                  <a:endParaRPr lang="en-US" altLang="en-US" dirty="0"/>
                </a:p>
              </p:txBody>
            </p:sp>
            <p:sp>
              <p:nvSpPr>
                <p:cNvPr id="1141" name="Rectangle 77">
                  <a:extLst>
                    <a:ext uri="{FF2B5EF4-FFF2-40B4-BE49-F238E27FC236}">
                      <a16:creationId xmlns:a16="http://schemas.microsoft.com/office/drawing/2014/main" id="{F09088E9-E734-7E4A-2469-EAE6B9518A57}"/>
                    </a:ext>
                  </a:extLst>
                </p:cNvPr>
                <p:cNvSpPr>
                  <a:spLocks noChangeArrowheads="1"/>
                </p:cNvSpPr>
                <p:nvPr/>
              </p:nvSpPr>
              <p:spPr bwMode="auto">
                <a:xfrm>
                  <a:off x="1833563" y="209550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10</a:t>
                  </a:r>
                  <a:endParaRPr lang="en-US" altLang="en-US" dirty="0"/>
                </a:p>
              </p:txBody>
            </p:sp>
            <p:sp>
              <p:nvSpPr>
                <p:cNvPr id="1142" name="Rectangle 78">
                  <a:extLst>
                    <a:ext uri="{FF2B5EF4-FFF2-40B4-BE49-F238E27FC236}">
                      <a16:creationId xmlns:a16="http://schemas.microsoft.com/office/drawing/2014/main" id="{029D3715-A300-3F40-6258-49946B6D9FE9}"/>
                    </a:ext>
                  </a:extLst>
                </p:cNvPr>
                <p:cNvSpPr>
                  <a:spLocks noChangeArrowheads="1"/>
                </p:cNvSpPr>
                <p:nvPr/>
              </p:nvSpPr>
              <p:spPr bwMode="auto">
                <a:xfrm>
                  <a:off x="1833563" y="1906588"/>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15</a:t>
                  </a:r>
                  <a:endParaRPr lang="en-US" altLang="en-US" dirty="0"/>
                </a:p>
              </p:txBody>
            </p:sp>
            <p:sp>
              <p:nvSpPr>
                <p:cNvPr id="1143" name="Rectangle 79">
                  <a:extLst>
                    <a:ext uri="{FF2B5EF4-FFF2-40B4-BE49-F238E27FC236}">
                      <a16:creationId xmlns:a16="http://schemas.microsoft.com/office/drawing/2014/main" id="{1EA535EB-A6EB-A598-4016-88430C363114}"/>
                    </a:ext>
                  </a:extLst>
                </p:cNvPr>
                <p:cNvSpPr>
                  <a:spLocks noChangeArrowheads="1"/>
                </p:cNvSpPr>
                <p:nvPr/>
              </p:nvSpPr>
              <p:spPr bwMode="auto">
                <a:xfrm>
                  <a:off x="1833563" y="1717676"/>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1144" name="Rectangle 80">
                  <a:extLst>
                    <a:ext uri="{FF2B5EF4-FFF2-40B4-BE49-F238E27FC236}">
                      <a16:creationId xmlns:a16="http://schemas.microsoft.com/office/drawing/2014/main" id="{4CC03501-9F48-9FF3-7A98-E3A67025AF6B}"/>
                    </a:ext>
                  </a:extLst>
                </p:cNvPr>
                <p:cNvSpPr>
                  <a:spLocks noChangeArrowheads="1"/>
                </p:cNvSpPr>
                <p:nvPr/>
              </p:nvSpPr>
              <p:spPr bwMode="auto">
                <a:xfrm>
                  <a:off x="2032000" y="259715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1145" name="Rectangle 81">
                  <a:extLst>
                    <a:ext uri="{FF2B5EF4-FFF2-40B4-BE49-F238E27FC236}">
                      <a16:creationId xmlns:a16="http://schemas.microsoft.com/office/drawing/2014/main" id="{2F5644CD-6EB6-7E1C-653B-6F87C21E8AA9}"/>
                    </a:ext>
                  </a:extLst>
                </p:cNvPr>
                <p:cNvSpPr>
                  <a:spLocks noChangeArrowheads="1"/>
                </p:cNvSpPr>
                <p:nvPr/>
              </p:nvSpPr>
              <p:spPr bwMode="auto">
                <a:xfrm>
                  <a:off x="2187575" y="259715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1146" name="Rectangle 82">
                  <a:extLst>
                    <a:ext uri="{FF2B5EF4-FFF2-40B4-BE49-F238E27FC236}">
                      <a16:creationId xmlns:a16="http://schemas.microsoft.com/office/drawing/2014/main" id="{8AC89D25-7B5C-0760-1627-5525B1B1E561}"/>
                    </a:ext>
                  </a:extLst>
                </p:cNvPr>
                <p:cNvSpPr>
                  <a:spLocks noChangeArrowheads="1"/>
                </p:cNvSpPr>
                <p:nvPr/>
              </p:nvSpPr>
              <p:spPr bwMode="auto">
                <a:xfrm>
                  <a:off x="2343150" y="2597151"/>
                  <a:ext cx="1063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1147" name="Rectangle 83">
                  <a:extLst>
                    <a:ext uri="{FF2B5EF4-FFF2-40B4-BE49-F238E27FC236}">
                      <a16:creationId xmlns:a16="http://schemas.microsoft.com/office/drawing/2014/main" id="{AB7FC6E7-E7E9-4663-A900-456758DE1DA3}"/>
                    </a:ext>
                  </a:extLst>
                </p:cNvPr>
                <p:cNvSpPr>
                  <a:spLocks noChangeArrowheads="1"/>
                </p:cNvSpPr>
                <p:nvPr/>
              </p:nvSpPr>
              <p:spPr bwMode="auto">
                <a:xfrm>
                  <a:off x="2500313" y="259715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1148" name="Rectangle 84">
                  <a:extLst>
                    <a:ext uri="{FF2B5EF4-FFF2-40B4-BE49-F238E27FC236}">
                      <a16:creationId xmlns:a16="http://schemas.microsoft.com/office/drawing/2014/main" id="{C39E8B89-F3F6-7B2A-ADE5-C7AF372AF49C}"/>
                    </a:ext>
                  </a:extLst>
                </p:cNvPr>
                <p:cNvSpPr>
                  <a:spLocks noChangeArrowheads="1"/>
                </p:cNvSpPr>
                <p:nvPr/>
              </p:nvSpPr>
              <p:spPr bwMode="auto">
                <a:xfrm>
                  <a:off x="2655888" y="259715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1149" name="Rectangle 85">
                  <a:extLst>
                    <a:ext uri="{FF2B5EF4-FFF2-40B4-BE49-F238E27FC236}">
                      <a16:creationId xmlns:a16="http://schemas.microsoft.com/office/drawing/2014/main" id="{0A9722DD-BE96-7E10-5576-284DDB19478B}"/>
                    </a:ext>
                  </a:extLst>
                </p:cNvPr>
                <p:cNvSpPr>
                  <a:spLocks noChangeArrowheads="1"/>
                </p:cNvSpPr>
                <p:nvPr/>
              </p:nvSpPr>
              <p:spPr bwMode="auto">
                <a:xfrm>
                  <a:off x="2787650"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1150" name="Rectangle 86">
                  <a:extLst>
                    <a:ext uri="{FF2B5EF4-FFF2-40B4-BE49-F238E27FC236}">
                      <a16:creationId xmlns:a16="http://schemas.microsoft.com/office/drawing/2014/main" id="{8815B025-5135-EA38-491C-8B1A74E75D63}"/>
                    </a:ext>
                  </a:extLst>
                </p:cNvPr>
                <p:cNvSpPr>
                  <a:spLocks noChangeArrowheads="1"/>
                </p:cNvSpPr>
                <p:nvPr/>
              </p:nvSpPr>
              <p:spPr bwMode="auto">
                <a:xfrm>
                  <a:off x="2944813"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1151" name="Rectangle 87">
                  <a:extLst>
                    <a:ext uri="{FF2B5EF4-FFF2-40B4-BE49-F238E27FC236}">
                      <a16:creationId xmlns:a16="http://schemas.microsoft.com/office/drawing/2014/main" id="{C149D0A9-93F6-2A73-606C-334CFA55F375}"/>
                    </a:ext>
                  </a:extLst>
                </p:cNvPr>
                <p:cNvSpPr>
                  <a:spLocks noChangeArrowheads="1"/>
                </p:cNvSpPr>
                <p:nvPr/>
              </p:nvSpPr>
              <p:spPr bwMode="auto">
                <a:xfrm>
                  <a:off x="3100388"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1152" name="Rectangle 88">
                  <a:extLst>
                    <a:ext uri="{FF2B5EF4-FFF2-40B4-BE49-F238E27FC236}">
                      <a16:creationId xmlns:a16="http://schemas.microsoft.com/office/drawing/2014/main" id="{2EFEE578-2961-9F8A-BF58-7CFD778C7B08}"/>
                    </a:ext>
                  </a:extLst>
                </p:cNvPr>
                <p:cNvSpPr>
                  <a:spLocks noChangeArrowheads="1"/>
                </p:cNvSpPr>
                <p:nvPr/>
              </p:nvSpPr>
              <p:spPr bwMode="auto">
                <a:xfrm>
                  <a:off x="3255963"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1153" name="Rectangle 89">
                  <a:extLst>
                    <a:ext uri="{FF2B5EF4-FFF2-40B4-BE49-F238E27FC236}">
                      <a16:creationId xmlns:a16="http://schemas.microsoft.com/office/drawing/2014/main" id="{393D884F-85C5-2B59-DD42-F85ADDBF0C04}"/>
                    </a:ext>
                  </a:extLst>
                </p:cNvPr>
                <p:cNvSpPr>
                  <a:spLocks noChangeArrowheads="1"/>
                </p:cNvSpPr>
                <p:nvPr/>
              </p:nvSpPr>
              <p:spPr bwMode="auto">
                <a:xfrm>
                  <a:off x="3413125" y="2597151"/>
                  <a:ext cx="1571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1154" name="Rectangle 90">
                  <a:extLst>
                    <a:ext uri="{FF2B5EF4-FFF2-40B4-BE49-F238E27FC236}">
                      <a16:creationId xmlns:a16="http://schemas.microsoft.com/office/drawing/2014/main" id="{26C829CA-70C2-6B20-A6CC-6F7974474DC4}"/>
                    </a:ext>
                  </a:extLst>
                </p:cNvPr>
                <p:cNvSpPr>
                  <a:spLocks noChangeArrowheads="1"/>
                </p:cNvSpPr>
                <p:nvPr/>
              </p:nvSpPr>
              <p:spPr bwMode="auto">
                <a:xfrm>
                  <a:off x="3568700"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1155" name="Rectangle 91">
                  <a:extLst>
                    <a:ext uri="{FF2B5EF4-FFF2-40B4-BE49-F238E27FC236}">
                      <a16:creationId xmlns:a16="http://schemas.microsoft.com/office/drawing/2014/main" id="{26BF03DD-3122-339C-9458-B1C142CDE2AF}"/>
                    </a:ext>
                  </a:extLst>
                </p:cNvPr>
                <p:cNvSpPr>
                  <a:spLocks noChangeArrowheads="1"/>
                </p:cNvSpPr>
                <p:nvPr/>
              </p:nvSpPr>
              <p:spPr bwMode="auto">
                <a:xfrm>
                  <a:off x="3724275"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1156" name="Rectangle 92">
                  <a:extLst>
                    <a:ext uri="{FF2B5EF4-FFF2-40B4-BE49-F238E27FC236}">
                      <a16:creationId xmlns:a16="http://schemas.microsoft.com/office/drawing/2014/main" id="{0748C107-426F-5EEE-9A7F-067B79A5963A}"/>
                    </a:ext>
                  </a:extLst>
                </p:cNvPr>
                <p:cNvSpPr>
                  <a:spLocks noChangeArrowheads="1"/>
                </p:cNvSpPr>
                <p:nvPr/>
              </p:nvSpPr>
              <p:spPr bwMode="auto">
                <a:xfrm>
                  <a:off x="3881438" y="2597151"/>
                  <a:ext cx="1571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1157" name="Rectangle 93">
                  <a:extLst>
                    <a:ext uri="{FF2B5EF4-FFF2-40B4-BE49-F238E27FC236}">
                      <a16:creationId xmlns:a16="http://schemas.microsoft.com/office/drawing/2014/main" id="{00821761-AB9F-9ABC-47C0-BE9AEE9D6BD4}"/>
                    </a:ext>
                  </a:extLst>
                </p:cNvPr>
                <p:cNvSpPr>
                  <a:spLocks noChangeArrowheads="1"/>
                </p:cNvSpPr>
                <p:nvPr/>
              </p:nvSpPr>
              <p:spPr bwMode="auto">
                <a:xfrm>
                  <a:off x="4037013"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1158" name="Rectangle 94">
                  <a:extLst>
                    <a:ext uri="{FF2B5EF4-FFF2-40B4-BE49-F238E27FC236}">
                      <a16:creationId xmlns:a16="http://schemas.microsoft.com/office/drawing/2014/main" id="{F0E40029-7A0B-0EA5-49C7-F6355A4868F8}"/>
                    </a:ext>
                  </a:extLst>
                </p:cNvPr>
                <p:cNvSpPr>
                  <a:spLocks noChangeArrowheads="1"/>
                </p:cNvSpPr>
                <p:nvPr/>
              </p:nvSpPr>
              <p:spPr bwMode="auto">
                <a:xfrm>
                  <a:off x="4192588"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1159" name="Rectangle 95">
                  <a:extLst>
                    <a:ext uri="{FF2B5EF4-FFF2-40B4-BE49-F238E27FC236}">
                      <a16:creationId xmlns:a16="http://schemas.microsoft.com/office/drawing/2014/main" id="{3AA74CBD-918B-E329-32E2-CACC5E635707}"/>
                    </a:ext>
                  </a:extLst>
                </p:cNvPr>
                <p:cNvSpPr>
                  <a:spLocks noChangeArrowheads="1"/>
                </p:cNvSpPr>
                <p:nvPr/>
              </p:nvSpPr>
              <p:spPr bwMode="auto">
                <a:xfrm>
                  <a:off x="4348163" y="259715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1160" name="Rectangle 96">
                  <a:extLst>
                    <a:ext uri="{FF2B5EF4-FFF2-40B4-BE49-F238E27FC236}">
                      <a16:creationId xmlns:a16="http://schemas.microsoft.com/office/drawing/2014/main" id="{BF9B395A-5134-59AB-3BE4-3406F23E33C3}"/>
                    </a:ext>
                  </a:extLst>
                </p:cNvPr>
                <p:cNvSpPr>
                  <a:spLocks noChangeArrowheads="1"/>
                </p:cNvSpPr>
                <p:nvPr/>
              </p:nvSpPr>
              <p:spPr bwMode="auto">
                <a:xfrm>
                  <a:off x="2940050" y="1455738"/>
                  <a:ext cx="549275"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Linear</a:t>
                  </a:r>
                  <a:endParaRPr lang="en-US" altLang="en-US" dirty="0"/>
                </a:p>
              </p:txBody>
            </p:sp>
            <p:sp>
              <p:nvSpPr>
                <p:cNvPr id="1161" name="Freeform 97">
                  <a:extLst>
                    <a:ext uri="{FF2B5EF4-FFF2-40B4-BE49-F238E27FC236}">
                      <a16:creationId xmlns:a16="http://schemas.microsoft.com/office/drawing/2014/main" id="{8905CA21-264A-D108-60FE-27BBCCF6FE9A}"/>
                    </a:ext>
                  </a:extLst>
                </p:cNvPr>
                <p:cNvSpPr>
                  <a:spLocks noEditPoints="1"/>
                </p:cNvSpPr>
                <p:nvPr/>
              </p:nvSpPr>
              <p:spPr bwMode="auto">
                <a:xfrm>
                  <a:off x="1768475" y="1379538"/>
                  <a:ext cx="2779713" cy="1395413"/>
                </a:xfrm>
                <a:custGeom>
                  <a:avLst/>
                  <a:gdLst>
                    <a:gd name="T0" fmla="*/ 0 w 19640"/>
                    <a:gd name="T1" fmla="*/ 2147483647 h 9872"/>
                    <a:gd name="T2" fmla="*/ 2147483647 w 19640"/>
                    <a:gd name="T3" fmla="*/ 0 h 9872"/>
                    <a:gd name="T4" fmla="*/ 2147483647 w 19640"/>
                    <a:gd name="T5" fmla="*/ 0 h 9872"/>
                    <a:gd name="T6" fmla="*/ 2147483647 w 19640"/>
                    <a:gd name="T7" fmla="*/ 2147483647 h 9872"/>
                    <a:gd name="T8" fmla="*/ 2147483647 w 19640"/>
                    <a:gd name="T9" fmla="*/ 2147483647 h 9872"/>
                    <a:gd name="T10" fmla="*/ 2147483647 w 19640"/>
                    <a:gd name="T11" fmla="*/ 2147483647 h 9872"/>
                    <a:gd name="T12" fmla="*/ 2147483647 w 19640"/>
                    <a:gd name="T13" fmla="*/ 2147483647 h 9872"/>
                    <a:gd name="T14" fmla="*/ 0 w 19640"/>
                    <a:gd name="T15" fmla="*/ 2147483647 h 9872"/>
                    <a:gd name="T16" fmla="*/ 0 w 19640"/>
                    <a:gd name="T17" fmla="*/ 2147483647 h 9872"/>
                    <a:gd name="T18" fmla="*/ 2147483647 w 19640"/>
                    <a:gd name="T19" fmla="*/ 2147483647 h 9872"/>
                    <a:gd name="T20" fmla="*/ 2147483647 w 19640"/>
                    <a:gd name="T21" fmla="*/ 2147483647 h 9872"/>
                    <a:gd name="T22" fmla="*/ 2147483647 w 19640"/>
                    <a:gd name="T23" fmla="*/ 2147483647 h 9872"/>
                    <a:gd name="T24" fmla="*/ 2147483647 w 19640"/>
                    <a:gd name="T25" fmla="*/ 2147483647 h 9872"/>
                    <a:gd name="T26" fmla="*/ 2147483647 w 19640"/>
                    <a:gd name="T27" fmla="*/ 2147483647 h 9872"/>
                    <a:gd name="T28" fmla="*/ 2147483647 w 19640"/>
                    <a:gd name="T29" fmla="*/ 2147483647 h 9872"/>
                    <a:gd name="T30" fmla="*/ 2147483647 w 19640"/>
                    <a:gd name="T31" fmla="*/ 2147483647 h 9872"/>
                    <a:gd name="T32" fmla="*/ 2147483647 w 19640"/>
                    <a:gd name="T33" fmla="*/ 2147483647 h 9872"/>
                    <a:gd name="T34" fmla="*/ 2147483647 w 19640"/>
                    <a:gd name="T35" fmla="*/ 2147483647 h 98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640" h="9872">
                      <a:moveTo>
                        <a:pt x="0" y="24"/>
                      </a:moveTo>
                      <a:cubicBezTo>
                        <a:pt x="0" y="11"/>
                        <a:pt x="11" y="0"/>
                        <a:pt x="24" y="0"/>
                      </a:cubicBezTo>
                      <a:lnTo>
                        <a:pt x="19616" y="0"/>
                      </a:lnTo>
                      <a:cubicBezTo>
                        <a:pt x="19630" y="0"/>
                        <a:pt x="19640" y="11"/>
                        <a:pt x="19640" y="24"/>
                      </a:cubicBezTo>
                      <a:lnTo>
                        <a:pt x="19640" y="9848"/>
                      </a:lnTo>
                      <a:cubicBezTo>
                        <a:pt x="19640" y="9862"/>
                        <a:pt x="19630" y="9872"/>
                        <a:pt x="19616" y="9872"/>
                      </a:cubicBezTo>
                      <a:lnTo>
                        <a:pt x="24" y="9872"/>
                      </a:lnTo>
                      <a:cubicBezTo>
                        <a:pt x="11" y="9872"/>
                        <a:pt x="0" y="9862"/>
                        <a:pt x="0" y="9848"/>
                      </a:cubicBezTo>
                      <a:lnTo>
                        <a:pt x="0" y="24"/>
                      </a:lnTo>
                      <a:close/>
                      <a:moveTo>
                        <a:pt x="48" y="9848"/>
                      </a:moveTo>
                      <a:lnTo>
                        <a:pt x="24" y="9824"/>
                      </a:lnTo>
                      <a:lnTo>
                        <a:pt x="19616" y="9824"/>
                      </a:lnTo>
                      <a:lnTo>
                        <a:pt x="19592" y="9848"/>
                      </a:lnTo>
                      <a:lnTo>
                        <a:pt x="19592" y="24"/>
                      </a:lnTo>
                      <a:lnTo>
                        <a:pt x="19616" y="48"/>
                      </a:lnTo>
                      <a:lnTo>
                        <a:pt x="24" y="48"/>
                      </a:lnTo>
                      <a:lnTo>
                        <a:pt x="48" y="24"/>
                      </a:lnTo>
                      <a:lnTo>
                        <a:pt x="48" y="9848"/>
                      </a:lnTo>
                      <a:close/>
                    </a:path>
                  </a:pathLst>
                </a:custGeom>
                <a:solidFill>
                  <a:srgbClr val="868686"/>
                </a:solidFill>
                <a:ln w="0" cap="flat">
                  <a:solidFill>
                    <a:srgbClr val="868686"/>
                  </a:solidFill>
                  <a:prstDash val="solid"/>
                  <a:round/>
                  <a:headEnd/>
                  <a:tailEnd/>
                </a:ln>
              </p:spPr>
              <p:txBody>
                <a:bodyPr/>
                <a:lstStyle/>
                <a:p>
                  <a:endParaRPr lang="en-US" dirty="0"/>
                </a:p>
              </p:txBody>
            </p:sp>
          </p:grpSp>
          <p:grpSp>
            <p:nvGrpSpPr>
              <p:cNvPr id="603" name="Group 28161">
                <a:extLst>
                  <a:ext uri="{FF2B5EF4-FFF2-40B4-BE49-F238E27FC236}">
                    <a16:creationId xmlns:a16="http://schemas.microsoft.com/office/drawing/2014/main" id="{4E2D9B63-B205-39A5-AEA1-ECB2707F919D}"/>
                  </a:ext>
                </a:extLst>
              </p:cNvPr>
              <p:cNvGrpSpPr>
                <a:grpSpLocks/>
              </p:cNvGrpSpPr>
              <p:nvPr/>
            </p:nvGrpSpPr>
            <p:grpSpPr bwMode="auto">
              <a:xfrm>
                <a:off x="2411430" y="2863868"/>
                <a:ext cx="2779713" cy="1395413"/>
                <a:chOff x="1768475" y="2797176"/>
                <a:chExt cx="2779713" cy="1395413"/>
              </a:xfrm>
            </p:grpSpPr>
            <p:sp>
              <p:nvSpPr>
                <p:cNvPr id="977" name="Rectangle 98">
                  <a:extLst>
                    <a:ext uri="{FF2B5EF4-FFF2-40B4-BE49-F238E27FC236}">
                      <a16:creationId xmlns:a16="http://schemas.microsoft.com/office/drawing/2014/main" id="{18831B97-D8F9-21A3-A8D2-B6E87A76306F}"/>
                    </a:ext>
                  </a:extLst>
                </p:cNvPr>
                <p:cNvSpPr>
                  <a:spLocks noChangeArrowheads="1"/>
                </p:cNvSpPr>
                <p:nvPr/>
              </p:nvSpPr>
              <p:spPr bwMode="auto">
                <a:xfrm>
                  <a:off x="1771650" y="2800351"/>
                  <a:ext cx="2771775" cy="1389063"/>
                </a:xfrm>
                <a:prstGeom prst="rect">
                  <a:avLst/>
                </a:prstGeom>
                <a:solidFill>
                  <a:schemeClr val="bg1"/>
                </a:solidFill>
                <a:ln w="9525">
                  <a:no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78" name="Rectangle 99">
                  <a:extLst>
                    <a:ext uri="{FF2B5EF4-FFF2-40B4-BE49-F238E27FC236}">
                      <a16:creationId xmlns:a16="http://schemas.microsoft.com/office/drawing/2014/main" id="{D7C3E04B-7E03-C0EC-6214-1C1D2AAF8F66}"/>
                    </a:ext>
                  </a:extLst>
                </p:cNvPr>
                <p:cNvSpPr>
                  <a:spLocks noChangeArrowheads="1"/>
                </p:cNvSpPr>
                <p:nvPr/>
              </p:nvSpPr>
              <p:spPr bwMode="auto">
                <a:xfrm>
                  <a:off x="2016125" y="3197226"/>
                  <a:ext cx="2419350" cy="755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79" name="Freeform 100">
                  <a:extLst>
                    <a:ext uri="{FF2B5EF4-FFF2-40B4-BE49-F238E27FC236}">
                      <a16:creationId xmlns:a16="http://schemas.microsoft.com/office/drawing/2014/main" id="{CAD9989D-9905-B0CC-6AD3-62426B75E659}"/>
                    </a:ext>
                  </a:extLst>
                </p:cNvPr>
                <p:cNvSpPr>
                  <a:spLocks noEditPoints="1"/>
                </p:cNvSpPr>
                <p:nvPr/>
              </p:nvSpPr>
              <p:spPr bwMode="auto">
                <a:xfrm>
                  <a:off x="2016125" y="3194051"/>
                  <a:ext cx="2419350" cy="509588"/>
                </a:xfrm>
                <a:custGeom>
                  <a:avLst/>
                  <a:gdLst>
                    <a:gd name="T0" fmla="*/ 0 w 1524"/>
                    <a:gd name="T1" fmla="*/ 2147483647 h 321"/>
                    <a:gd name="T2" fmla="*/ 2147483647 w 1524"/>
                    <a:gd name="T3" fmla="*/ 2147483647 h 321"/>
                    <a:gd name="T4" fmla="*/ 2147483647 w 1524"/>
                    <a:gd name="T5" fmla="*/ 2147483647 h 321"/>
                    <a:gd name="T6" fmla="*/ 0 w 1524"/>
                    <a:gd name="T7" fmla="*/ 2147483647 h 321"/>
                    <a:gd name="T8" fmla="*/ 0 w 1524"/>
                    <a:gd name="T9" fmla="*/ 2147483647 h 321"/>
                    <a:gd name="T10" fmla="*/ 0 w 1524"/>
                    <a:gd name="T11" fmla="*/ 2147483647 h 321"/>
                    <a:gd name="T12" fmla="*/ 2147483647 w 1524"/>
                    <a:gd name="T13" fmla="*/ 2147483647 h 321"/>
                    <a:gd name="T14" fmla="*/ 2147483647 w 1524"/>
                    <a:gd name="T15" fmla="*/ 2147483647 h 321"/>
                    <a:gd name="T16" fmla="*/ 0 w 1524"/>
                    <a:gd name="T17" fmla="*/ 2147483647 h 321"/>
                    <a:gd name="T18" fmla="*/ 0 w 1524"/>
                    <a:gd name="T19" fmla="*/ 2147483647 h 321"/>
                    <a:gd name="T20" fmla="*/ 0 w 1524"/>
                    <a:gd name="T21" fmla="*/ 0 h 321"/>
                    <a:gd name="T22" fmla="*/ 2147483647 w 1524"/>
                    <a:gd name="T23" fmla="*/ 0 h 321"/>
                    <a:gd name="T24" fmla="*/ 2147483647 w 1524"/>
                    <a:gd name="T25" fmla="*/ 2147483647 h 321"/>
                    <a:gd name="T26" fmla="*/ 0 w 1524"/>
                    <a:gd name="T27" fmla="*/ 2147483647 h 321"/>
                    <a:gd name="T28" fmla="*/ 0 w 1524"/>
                    <a:gd name="T29" fmla="*/ 0 h 3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24" h="321">
                      <a:moveTo>
                        <a:pt x="0" y="317"/>
                      </a:moveTo>
                      <a:lnTo>
                        <a:pt x="1524" y="317"/>
                      </a:lnTo>
                      <a:lnTo>
                        <a:pt x="1524" y="321"/>
                      </a:lnTo>
                      <a:lnTo>
                        <a:pt x="0" y="321"/>
                      </a:lnTo>
                      <a:lnTo>
                        <a:pt x="0" y="317"/>
                      </a:lnTo>
                      <a:close/>
                      <a:moveTo>
                        <a:pt x="0" y="159"/>
                      </a:moveTo>
                      <a:lnTo>
                        <a:pt x="1524" y="159"/>
                      </a:lnTo>
                      <a:lnTo>
                        <a:pt x="1524" y="163"/>
                      </a:lnTo>
                      <a:lnTo>
                        <a:pt x="0" y="163"/>
                      </a:lnTo>
                      <a:lnTo>
                        <a:pt x="0" y="159"/>
                      </a:lnTo>
                      <a:close/>
                      <a:moveTo>
                        <a:pt x="0" y="0"/>
                      </a:moveTo>
                      <a:lnTo>
                        <a:pt x="1524" y="0"/>
                      </a:lnTo>
                      <a:lnTo>
                        <a:pt x="1524" y="5"/>
                      </a:lnTo>
                      <a:lnTo>
                        <a:pt x="0" y="5"/>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980" name="Rectangle 101">
                  <a:extLst>
                    <a:ext uri="{FF2B5EF4-FFF2-40B4-BE49-F238E27FC236}">
                      <a16:creationId xmlns:a16="http://schemas.microsoft.com/office/drawing/2014/main" id="{34F5CE8C-043D-6A43-9FA1-C98E4B9AB936}"/>
                    </a:ext>
                  </a:extLst>
                </p:cNvPr>
                <p:cNvSpPr>
                  <a:spLocks noChangeArrowheads="1"/>
                </p:cNvSpPr>
                <p:nvPr/>
              </p:nvSpPr>
              <p:spPr bwMode="auto">
                <a:xfrm>
                  <a:off x="2012950" y="3197226"/>
                  <a:ext cx="6350" cy="755650"/>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81" name="Freeform 102">
                  <a:extLst>
                    <a:ext uri="{FF2B5EF4-FFF2-40B4-BE49-F238E27FC236}">
                      <a16:creationId xmlns:a16="http://schemas.microsoft.com/office/drawing/2014/main" id="{FF7C8B1C-9290-EA9F-17EA-A85211703A82}"/>
                    </a:ext>
                  </a:extLst>
                </p:cNvPr>
                <p:cNvSpPr>
                  <a:spLocks noEditPoints="1"/>
                </p:cNvSpPr>
                <p:nvPr/>
              </p:nvSpPr>
              <p:spPr bwMode="auto">
                <a:xfrm>
                  <a:off x="1985963" y="3194051"/>
                  <a:ext cx="30163" cy="762000"/>
                </a:xfrm>
                <a:custGeom>
                  <a:avLst/>
                  <a:gdLst>
                    <a:gd name="T0" fmla="*/ 0 w 19"/>
                    <a:gd name="T1" fmla="*/ 2147483647 h 480"/>
                    <a:gd name="T2" fmla="*/ 2147483647 w 19"/>
                    <a:gd name="T3" fmla="*/ 2147483647 h 480"/>
                    <a:gd name="T4" fmla="*/ 2147483647 w 19"/>
                    <a:gd name="T5" fmla="*/ 2147483647 h 480"/>
                    <a:gd name="T6" fmla="*/ 0 w 19"/>
                    <a:gd name="T7" fmla="*/ 2147483647 h 480"/>
                    <a:gd name="T8" fmla="*/ 0 w 19"/>
                    <a:gd name="T9" fmla="*/ 2147483647 h 480"/>
                    <a:gd name="T10" fmla="*/ 0 w 19"/>
                    <a:gd name="T11" fmla="*/ 2147483647 h 480"/>
                    <a:gd name="T12" fmla="*/ 2147483647 w 19"/>
                    <a:gd name="T13" fmla="*/ 2147483647 h 480"/>
                    <a:gd name="T14" fmla="*/ 2147483647 w 19"/>
                    <a:gd name="T15" fmla="*/ 2147483647 h 480"/>
                    <a:gd name="T16" fmla="*/ 0 w 19"/>
                    <a:gd name="T17" fmla="*/ 2147483647 h 480"/>
                    <a:gd name="T18" fmla="*/ 0 w 19"/>
                    <a:gd name="T19" fmla="*/ 2147483647 h 480"/>
                    <a:gd name="T20" fmla="*/ 0 w 19"/>
                    <a:gd name="T21" fmla="*/ 2147483647 h 480"/>
                    <a:gd name="T22" fmla="*/ 2147483647 w 19"/>
                    <a:gd name="T23" fmla="*/ 2147483647 h 480"/>
                    <a:gd name="T24" fmla="*/ 2147483647 w 19"/>
                    <a:gd name="T25" fmla="*/ 2147483647 h 480"/>
                    <a:gd name="T26" fmla="*/ 0 w 19"/>
                    <a:gd name="T27" fmla="*/ 2147483647 h 480"/>
                    <a:gd name="T28" fmla="*/ 0 w 19"/>
                    <a:gd name="T29" fmla="*/ 2147483647 h 480"/>
                    <a:gd name="T30" fmla="*/ 0 w 19"/>
                    <a:gd name="T31" fmla="*/ 0 h 480"/>
                    <a:gd name="T32" fmla="*/ 2147483647 w 19"/>
                    <a:gd name="T33" fmla="*/ 0 h 480"/>
                    <a:gd name="T34" fmla="*/ 2147483647 w 19"/>
                    <a:gd name="T35" fmla="*/ 2147483647 h 480"/>
                    <a:gd name="T36" fmla="*/ 0 w 19"/>
                    <a:gd name="T37" fmla="*/ 2147483647 h 480"/>
                    <a:gd name="T38" fmla="*/ 0 w 19"/>
                    <a:gd name="T39" fmla="*/ 0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9" h="480">
                      <a:moveTo>
                        <a:pt x="0" y="476"/>
                      </a:moveTo>
                      <a:lnTo>
                        <a:pt x="19" y="476"/>
                      </a:lnTo>
                      <a:lnTo>
                        <a:pt x="19" y="480"/>
                      </a:lnTo>
                      <a:lnTo>
                        <a:pt x="0" y="480"/>
                      </a:lnTo>
                      <a:lnTo>
                        <a:pt x="0" y="476"/>
                      </a:lnTo>
                      <a:close/>
                      <a:moveTo>
                        <a:pt x="0" y="317"/>
                      </a:moveTo>
                      <a:lnTo>
                        <a:pt x="19" y="317"/>
                      </a:lnTo>
                      <a:lnTo>
                        <a:pt x="19" y="321"/>
                      </a:lnTo>
                      <a:lnTo>
                        <a:pt x="0" y="321"/>
                      </a:lnTo>
                      <a:lnTo>
                        <a:pt x="0" y="317"/>
                      </a:lnTo>
                      <a:close/>
                      <a:moveTo>
                        <a:pt x="0" y="159"/>
                      </a:moveTo>
                      <a:lnTo>
                        <a:pt x="19" y="159"/>
                      </a:lnTo>
                      <a:lnTo>
                        <a:pt x="19" y="163"/>
                      </a:lnTo>
                      <a:lnTo>
                        <a:pt x="0" y="163"/>
                      </a:lnTo>
                      <a:lnTo>
                        <a:pt x="0" y="159"/>
                      </a:lnTo>
                      <a:close/>
                      <a:moveTo>
                        <a:pt x="0" y="0"/>
                      </a:moveTo>
                      <a:lnTo>
                        <a:pt x="19" y="0"/>
                      </a:lnTo>
                      <a:lnTo>
                        <a:pt x="19" y="5"/>
                      </a:lnTo>
                      <a:lnTo>
                        <a:pt x="0" y="5"/>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982" name="Rectangle 103">
                  <a:extLst>
                    <a:ext uri="{FF2B5EF4-FFF2-40B4-BE49-F238E27FC236}">
                      <a16:creationId xmlns:a16="http://schemas.microsoft.com/office/drawing/2014/main" id="{C96DE269-0E5D-6BD9-AE6A-E0B8FDC8E415}"/>
                    </a:ext>
                  </a:extLst>
                </p:cNvPr>
                <p:cNvSpPr>
                  <a:spLocks noChangeArrowheads="1"/>
                </p:cNvSpPr>
                <p:nvPr/>
              </p:nvSpPr>
              <p:spPr bwMode="auto">
                <a:xfrm>
                  <a:off x="2016125" y="3949701"/>
                  <a:ext cx="2419350" cy="6350"/>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83" name="Freeform 104">
                  <a:extLst>
                    <a:ext uri="{FF2B5EF4-FFF2-40B4-BE49-F238E27FC236}">
                      <a16:creationId xmlns:a16="http://schemas.microsoft.com/office/drawing/2014/main" id="{B254FB66-B7CF-CF51-B434-130B2258B3CB}"/>
                    </a:ext>
                  </a:extLst>
                </p:cNvPr>
                <p:cNvSpPr>
                  <a:spLocks noEditPoints="1"/>
                </p:cNvSpPr>
                <p:nvPr/>
              </p:nvSpPr>
              <p:spPr bwMode="auto">
                <a:xfrm>
                  <a:off x="2012950" y="3952876"/>
                  <a:ext cx="2425700" cy="30163"/>
                </a:xfrm>
                <a:custGeom>
                  <a:avLst/>
                  <a:gdLst>
                    <a:gd name="T0" fmla="*/ 0 w 1528"/>
                    <a:gd name="T1" fmla="*/ 2147483647 h 19"/>
                    <a:gd name="T2" fmla="*/ 2147483647 w 1528"/>
                    <a:gd name="T3" fmla="*/ 0 h 19"/>
                    <a:gd name="T4" fmla="*/ 2147483647 w 1528"/>
                    <a:gd name="T5" fmla="*/ 0 h 19"/>
                    <a:gd name="T6" fmla="*/ 2147483647 w 1528"/>
                    <a:gd name="T7" fmla="*/ 2147483647 h 19"/>
                    <a:gd name="T8" fmla="*/ 2147483647 w 1528"/>
                    <a:gd name="T9" fmla="*/ 0 h 19"/>
                    <a:gd name="T10" fmla="*/ 2147483647 w 1528"/>
                    <a:gd name="T11" fmla="*/ 2147483647 h 19"/>
                    <a:gd name="T12" fmla="*/ 2147483647 w 1528"/>
                    <a:gd name="T13" fmla="*/ 0 h 19"/>
                    <a:gd name="T14" fmla="*/ 2147483647 w 1528"/>
                    <a:gd name="T15" fmla="*/ 0 h 19"/>
                    <a:gd name="T16" fmla="*/ 2147483647 w 1528"/>
                    <a:gd name="T17" fmla="*/ 2147483647 h 19"/>
                    <a:gd name="T18" fmla="*/ 2147483647 w 1528"/>
                    <a:gd name="T19" fmla="*/ 0 h 19"/>
                    <a:gd name="T20" fmla="*/ 2147483647 w 1528"/>
                    <a:gd name="T21" fmla="*/ 2147483647 h 19"/>
                    <a:gd name="T22" fmla="*/ 2147483647 w 1528"/>
                    <a:gd name="T23" fmla="*/ 0 h 19"/>
                    <a:gd name="T24" fmla="*/ 2147483647 w 1528"/>
                    <a:gd name="T25" fmla="*/ 0 h 19"/>
                    <a:gd name="T26" fmla="*/ 2147483647 w 1528"/>
                    <a:gd name="T27" fmla="*/ 2147483647 h 19"/>
                    <a:gd name="T28" fmla="*/ 2147483647 w 1528"/>
                    <a:gd name="T29" fmla="*/ 0 h 19"/>
                    <a:gd name="T30" fmla="*/ 2147483647 w 1528"/>
                    <a:gd name="T31" fmla="*/ 2147483647 h 19"/>
                    <a:gd name="T32" fmla="*/ 2147483647 w 1528"/>
                    <a:gd name="T33" fmla="*/ 0 h 19"/>
                    <a:gd name="T34" fmla="*/ 2147483647 w 1528"/>
                    <a:gd name="T35" fmla="*/ 0 h 19"/>
                    <a:gd name="T36" fmla="*/ 2147483647 w 1528"/>
                    <a:gd name="T37" fmla="*/ 2147483647 h 19"/>
                    <a:gd name="T38" fmla="*/ 2147483647 w 1528"/>
                    <a:gd name="T39" fmla="*/ 0 h 19"/>
                    <a:gd name="T40" fmla="*/ 2147483647 w 1528"/>
                    <a:gd name="T41" fmla="*/ 2147483647 h 19"/>
                    <a:gd name="T42" fmla="*/ 2147483647 w 1528"/>
                    <a:gd name="T43" fmla="*/ 0 h 19"/>
                    <a:gd name="T44" fmla="*/ 2147483647 w 1528"/>
                    <a:gd name="T45" fmla="*/ 0 h 19"/>
                    <a:gd name="T46" fmla="*/ 2147483647 w 1528"/>
                    <a:gd name="T47" fmla="*/ 2147483647 h 19"/>
                    <a:gd name="T48" fmla="*/ 2147483647 w 1528"/>
                    <a:gd name="T49" fmla="*/ 0 h 19"/>
                    <a:gd name="T50" fmla="*/ 2147483647 w 1528"/>
                    <a:gd name="T51" fmla="*/ 2147483647 h 19"/>
                    <a:gd name="T52" fmla="*/ 2147483647 w 1528"/>
                    <a:gd name="T53" fmla="*/ 0 h 19"/>
                    <a:gd name="T54" fmla="*/ 2147483647 w 1528"/>
                    <a:gd name="T55" fmla="*/ 0 h 19"/>
                    <a:gd name="T56" fmla="*/ 2147483647 w 1528"/>
                    <a:gd name="T57" fmla="*/ 2147483647 h 19"/>
                    <a:gd name="T58" fmla="*/ 2147483647 w 1528"/>
                    <a:gd name="T59" fmla="*/ 0 h 19"/>
                    <a:gd name="T60" fmla="*/ 2147483647 w 1528"/>
                    <a:gd name="T61" fmla="*/ 2147483647 h 19"/>
                    <a:gd name="T62" fmla="*/ 2147483647 w 1528"/>
                    <a:gd name="T63" fmla="*/ 0 h 19"/>
                    <a:gd name="T64" fmla="*/ 2147483647 w 1528"/>
                    <a:gd name="T65" fmla="*/ 0 h 19"/>
                    <a:gd name="T66" fmla="*/ 2147483647 w 1528"/>
                    <a:gd name="T67" fmla="*/ 2147483647 h 19"/>
                    <a:gd name="T68" fmla="*/ 2147483647 w 1528"/>
                    <a:gd name="T69" fmla="*/ 0 h 19"/>
                    <a:gd name="T70" fmla="*/ 2147483647 w 1528"/>
                    <a:gd name="T71" fmla="*/ 2147483647 h 19"/>
                    <a:gd name="T72" fmla="*/ 2147483647 w 1528"/>
                    <a:gd name="T73" fmla="*/ 0 h 19"/>
                    <a:gd name="T74" fmla="*/ 2147483647 w 1528"/>
                    <a:gd name="T75" fmla="*/ 0 h 19"/>
                    <a:gd name="T76" fmla="*/ 2147483647 w 1528"/>
                    <a:gd name="T77" fmla="*/ 2147483647 h 19"/>
                    <a:gd name="T78" fmla="*/ 2147483647 w 1528"/>
                    <a:gd name="T79" fmla="*/ 0 h 19"/>
                    <a:gd name="T80" fmla="*/ 2147483647 w 1528"/>
                    <a:gd name="T81" fmla="*/ 2147483647 h 19"/>
                    <a:gd name="T82" fmla="*/ 2147483647 w 1528"/>
                    <a:gd name="T83" fmla="*/ 0 h 19"/>
                    <a:gd name="T84" fmla="*/ 2147483647 w 1528"/>
                    <a:gd name="T85" fmla="*/ 0 h 19"/>
                    <a:gd name="T86" fmla="*/ 2147483647 w 1528"/>
                    <a:gd name="T87" fmla="*/ 2147483647 h 19"/>
                    <a:gd name="T88" fmla="*/ 2147483647 w 1528"/>
                    <a:gd name="T89" fmla="*/ 0 h 19"/>
                    <a:gd name="T90" fmla="*/ 2147483647 w 1528"/>
                    <a:gd name="T91" fmla="*/ 2147483647 h 19"/>
                    <a:gd name="T92" fmla="*/ 2147483647 w 1528"/>
                    <a:gd name="T93" fmla="*/ 0 h 19"/>
                    <a:gd name="T94" fmla="*/ 2147483647 w 1528"/>
                    <a:gd name="T95" fmla="*/ 0 h 19"/>
                    <a:gd name="T96" fmla="*/ 2147483647 w 1528"/>
                    <a:gd name="T97" fmla="*/ 2147483647 h 19"/>
                    <a:gd name="T98" fmla="*/ 2147483647 w 1528"/>
                    <a:gd name="T99" fmla="*/ 0 h 19"/>
                    <a:gd name="T100" fmla="*/ 2147483647 w 1528"/>
                    <a:gd name="T101" fmla="*/ 2147483647 h 19"/>
                    <a:gd name="T102" fmla="*/ 2147483647 w 1528"/>
                    <a:gd name="T103" fmla="*/ 0 h 19"/>
                    <a:gd name="T104" fmla="*/ 2147483647 w 1528"/>
                    <a:gd name="T105" fmla="*/ 0 h 1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28" h="19">
                      <a:moveTo>
                        <a:pt x="4" y="0"/>
                      </a:moveTo>
                      <a:lnTo>
                        <a:pt x="4" y="19"/>
                      </a:lnTo>
                      <a:lnTo>
                        <a:pt x="0" y="19"/>
                      </a:lnTo>
                      <a:lnTo>
                        <a:pt x="0" y="0"/>
                      </a:lnTo>
                      <a:lnTo>
                        <a:pt x="4" y="0"/>
                      </a:lnTo>
                      <a:close/>
                      <a:moveTo>
                        <a:pt x="53" y="0"/>
                      </a:moveTo>
                      <a:lnTo>
                        <a:pt x="53" y="19"/>
                      </a:lnTo>
                      <a:lnTo>
                        <a:pt x="49" y="19"/>
                      </a:lnTo>
                      <a:lnTo>
                        <a:pt x="49" y="0"/>
                      </a:lnTo>
                      <a:lnTo>
                        <a:pt x="53" y="0"/>
                      </a:lnTo>
                      <a:close/>
                      <a:moveTo>
                        <a:pt x="102" y="0"/>
                      </a:moveTo>
                      <a:lnTo>
                        <a:pt x="102" y="19"/>
                      </a:lnTo>
                      <a:lnTo>
                        <a:pt x="98" y="19"/>
                      </a:lnTo>
                      <a:lnTo>
                        <a:pt x="98" y="0"/>
                      </a:lnTo>
                      <a:lnTo>
                        <a:pt x="102" y="0"/>
                      </a:lnTo>
                      <a:close/>
                      <a:moveTo>
                        <a:pt x="152" y="0"/>
                      </a:moveTo>
                      <a:lnTo>
                        <a:pt x="152" y="19"/>
                      </a:lnTo>
                      <a:lnTo>
                        <a:pt x="147" y="19"/>
                      </a:lnTo>
                      <a:lnTo>
                        <a:pt x="147" y="0"/>
                      </a:lnTo>
                      <a:lnTo>
                        <a:pt x="152" y="0"/>
                      </a:lnTo>
                      <a:close/>
                      <a:moveTo>
                        <a:pt x="201" y="0"/>
                      </a:moveTo>
                      <a:lnTo>
                        <a:pt x="201" y="19"/>
                      </a:lnTo>
                      <a:lnTo>
                        <a:pt x="197" y="19"/>
                      </a:lnTo>
                      <a:lnTo>
                        <a:pt x="197" y="0"/>
                      </a:lnTo>
                      <a:lnTo>
                        <a:pt x="201" y="0"/>
                      </a:lnTo>
                      <a:close/>
                      <a:moveTo>
                        <a:pt x="250" y="0"/>
                      </a:moveTo>
                      <a:lnTo>
                        <a:pt x="250" y="19"/>
                      </a:lnTo>
                      <a:lnTo>
                        <a:pt x="246" y="19"/>
                      </a:lnTo>
                      <a:lnTo>
                        <a:pt x="246" y="0"/>
                      </a:lnTo>
                      <a:lnTo>
                        <a:pt x="250" y="0"/>
                      </a:lnTo>
                      <a:close/>
                      <a:moveTo>
                        <a:pt x="299" y="0"/>
                      </a:moveTo>
                      <a:lnTo>
                        <a:pt x="299" y="19"/>
                      </a:lnTo>
                      <a:lnTo>
                        <a:pt x="295" y="19"/>
                      </a:lnTo>
                      <a:lnTo>
                        <a:pt x="295" y="0"/>
                      </a:lnTo>
                      <a:lnTo>
                        <a:pt x="299" y="0"/>
                      </a:lnTo>
                      <a:close/>
                      <a:moveTo>
                        <a:pt x="348" y="0"/>
                      </a:moveTo>
                      <a:lnTo>
                        <a:pt x="348" y="19"/>
                      </a:lnTo>
                      <a:lnTo>
                        <a:pt x="343" y="19"/>
                      </a:lnTo>
                      <a:lnTo>
                        <a:pt x="343" y="0"/>
                      </a:lnTo>
                      <a:lnTo>
                        <a:pt x="348" y="0"/>
                      </a:lnTo>
                      <a:close/>
                      <a:moveTo>
                        <a:pt x="397" y="0"/>
                      </a:moveTo>
                      <a:lnTo>
                        <a:pt x="397" y="19"/>
                      </a:lnTo>
                      <a:lnTo>
                        <a:pt x="393" y="19"/>
                      </a:lnTo>
                      <a:lnTo>
                        <a:pt x="393" y="0"/>
                      </a:lnTo>
                      <a:lnTo>
                        <a:pt x="397" y="0"/>
                      </a:lnTo>
                      <a:close/>
                      <a:moveTo>
                        <a:pt x="446" y="0"/>
                      </a:moveTo>
                      <a:lnTo>
                        <a:pt x="446" y="19"/>
                      </a:lnTo>
                      <a:lnTo>
                        <a:pt x="442" y="19"/>
                      </a:lnTo>
                      <a:lnTo>
                        <a:pt x="442" y="0"/>
                      </a:lnTo>
                      <a:lnTo>
                        <a:pt x="446" y="0"/>
                      </a:lnTo>
                      <a:close/>
                      <a:moveTo>
                        <a:pt x="495" y="0"/>
                      </a:moveTo>
                      <a:lnTo>
                        <a:pt x="495" y="19"/>
                      </a:lnTo>
                      <a:lnTo>
                        <a:pt x="491" y="19"/>
                      </a:lnTo>
                      <a:lnTo>
                        <a:pt x="491" y="0"/>
                      </a:lnTo>
                      <a:lnTo>
                        <a:pt x="495" y="0"/>
                      </a:lnTo>
                      <a:close/>
                      <a:moveTo>
                        <a:pt x="545" y="0"/>
                      </a:moveTo>
                      <a:lnTo>
                        <a:pt x="545" y="19"/>
                      </a:lnTo>
                      <a:lnTo>
                        <a:pt x="540" y="19"/>
                      </a:lnTo>
                      <a:lnTo>
                        <a:pt x="540" y="0"/>
                      </a:lnTo>
                      <a:lnTo>
                        <a:pt x="545" y="0"/>
                      </a:lnTo>
                      <a:close/>
                      <a:moveTo>
                        <a:pt x="594" y="0"/>
                      </a:moveTo>
                      <a:lnTo>
                        <a:pt x="594" y="19"/>
                      </a:lnTo>
                      <a:lnTo>
                        <a:pt x="590" y="19"/>
                      </a:lnTo>
                      <a:lnTo>
                        <a:pt x="590" y="0"/>
                      </a:lnTo>
                      <a:lnTo>
                        <a:pt x="594" y="0"/>
                      </a:lnTo>
                      <a:close/>
                      <a:moveTo>
                        <a:pt x="643" y="0"/>
                      </a:moveTo>
                      <a:lnTo>
                        <a:pt x="643" y="19"/>
                      </a:lnTo>
                      <a:lnTo>
                        <a:pt x="639" y="19"/>
                      </a:lnTo>
                      <a:lnTo>
                        <a:pt x="639" y="0"/>
                      </a:lnTo>
                      <a:lnTo>
                        <a:pt x="643" y="0"/>
                      </a:lnTo>
                      <a:close/>
                      <a:moveTo>
                        <a:pt x="692" y="0"/>
                      </a:moveTo>
                      <a:lnTo>
                        <a:pt x="692" y="19"/>
                      </a:lnTo>
                      <a:lnTo>
                        <a:pt x="688" y="19"/>
                      </a:lnTo>
                      <a:lnTo>
                        <a:pt x="688" y="0"/>
                      </a:lnTo>
                      <a:lnTo>
                        <a:pt x="692" y="0"/>
                      </a:lnTo>
                      <a:close/>
                      <a:moveTo>
                        <a:pt x="741" y="0"/>
                      </a:moveTo>
                      <a:lnTo>
                        <a:pt x="741" y="19"/>
                      </a:lnTo>
                      <a:lnTo>
                        <a:pt x="737" y="19"/>
                      </a:lnTo>
                      <a:lnTo>
                        <a:pt x="737" y="0"/>
                      </a:lnTo>
                      <a:lnTo>
                        <a:pt x="741" y="0"/>
                      </a:lnTo>
                      <a:close/>
                      <a:moveTo>
                        <a:pt x="791" y="0"/>
                      </a:moveTo>
                      <a:lnTo>
                        <a:pt x="791" y="19"/>
                      </a:lnTo>
                      <a:lnTo>
                        <a:pt x="786" y="19"/>
                      </a:lnTo>
                      <a:lnTo>
                        <a:pt x="786" y="0"/>
                      </a:lnTo>
                      <a:lnTo>
                        <a:pt x="791" y="0"/>
                      </a:lnTo>
                      <a:close/>
                      <a:moveTo>
                        <a:pt x="840" y="0"/>
                      </a:moveTo>
                      <a:lnTo>
                        <a:pt x="840" y="19"/>
                      </a:lnTo>
                      <a:lnTo>
                        <a:pt x="836" y="19"/>
                      </a:lnTo>
                      <a:lnTo>
                        <a:pt x="836" y="0"/>
                      </a:lnTo>
                      <a:lnTo>
                        <a:pt x="840" y="0"/>
                      </a:lnTo>
                      <a:close/>
                      <a:moveTo>
                        <a:pt x="889" y="0"/>
                      </a:moveTo>
                      <a:lnTo>
                        <a:pt x="889" y="19"/>
                      </a:lnTo>
                      <a:lnTo>
                        <a:pt x="885" y="19"/>
                      </a:lnTo>
                      <a:lnTo>
                        <a:pt x="885" y="0"/>
                      </a:lnTo>
                      <a:lnTo>
                        <a:pt x="889" y="0"/>
                      </a:lnTo>
                      <a:close/>
                      <a:moveTo>
                        <a:pt x="938" y="0"/>
                      </a:moveTo>
                      <a:lnTo>
                        <a:pt x="938" y="19"/>
                      </a:lnTo>
                      <a:lnTo>
                        <a:pt x="934" y="19"/>
                      </a:lnTo>
                      <a:lnTo>
                        <a:pt x="934" y="0"/>
                      </a:lnTo>
                      <a:lnTo>
                        <a:pt x="938" y="0"/>
                      </a:lnTo>
                      <a:close/>
                      <a:moveTo>
                        <a:pt x="987" y="0"/>
                      </a:moveTo>
                      <a:lnTo>
                        <a:pt x="987" y="19"/>
                      </a:lnTo>
                      <a:lnTo>
                        <a:pt x="983" y="19"/>
                      </a:lnTo>
                      <a:lnTo>
                        <a:pt x="983" y="0"/>
                      </a:lnTo>
                      <a:lnTo>
                        <a:pt x="987" y="0"/>
                      </a:lnTo>
                      <a:close/>
                      <a:moveTo>
                        <a:pt x="1036" y="0"/>
                      </a:moveTo>
                      <a:lnTo>
                        <a:pt x="1036" y="19"/>
                      </a:lnTo>
                      <a:lnTo>
                        <a:pt x="1032" y="19"/>
                      </a:lnTo>
                      <a:lnTo>
                        <a:pt x="1032" y="0"/>
                      </a:lnTo>
                      <a:lnTo>
                        <a:pt x="1036" y="0"/>
                      </a:lnTo>
                      <a:close/>
                      <a:moveTo>
                        <a:pt x="1085" y="0"/>
                      </a:moveTo>
                      <a:lnTo>
                        <a:pt x="1085" y="19"/>
                      </a:lnTo>
                      <a:lnTo>
                        <a:pt x="1081" y="19"/>
                      </a:lnTo>
                      <a:lnTo>
                        <a:pt x="1081" y="0"/>
                      </a:lnTo>
                      <a:lnTo>
                        <a:pt x="1085" y="0"/>
                      </a:lnTo>
                      <a:close/>
                      <a:moveTo>
                        <a:pt x="1134" y="0"/>
                      </a:moveTo>
                      <a:lnTo>
                        <a:pt x="1134" y="19"/>
                      </a:lnTo>
                      <a:lnTo>
                        <a:pt x="1130" y="19"/>
                      </a:lnTo>
                      <a:lnTo>
                        <a:pt x="1130" y="0"/>
                      </a:lnTo>
                      <a:lnTo>
                        <a:pt x="1134" y="0"/>
                      </a:lnTo>
                      <a:close/>
                      <a:moveTo>
                        <a:pt x="1184" y="0"/>
                      </a:moveTo>
                      <a:lnTo>
                        <a:pt x="1184" y="19"/>
                      </a:lnTo>
                      <a:lnTo>
                        <a:pt x="1179" y="19"/>
                      </a:lnTo>
                      <a:lnTo>
                        <a:pt x="1179" y="0"/>
                      </a:lnTo>
                      <a:lnTo>
                        <a:pt x="1184" y="0"/>
                      </a:lnTo>
                      <a:close/>
                      <a:moveTo>
                        <a:pt x="1233" y="0"/>
                      </a:moveTo>
                      <a:lnTo>
                        <a:pt x="1233" y="19"/>
                      </a:lnTo>
                      <a:lnTo>
                        <a:pt x="1229" y="19"/>
                      </a:lnTo>
                      <a:lnTo>
                        <a:pt x="1229" y="0"/>
                      </a:lnTo>
                      <a:lnTo>
                        <a:pt x="1233" y="0"/>
                      </a:lnTo>
                      <a:close/>
                      <a:moveTo>
                        <a:pt x="1282" y="0"/>
                      </a:moveTo>
                      <a:lnTo>
                        <a:pt x="1282" y="19"/>
                      </a:lnTo>
                      <a:lnTo>
                        <a:pt x="1278" y="19"/>
                      </a:lnTo>
                      <a:lnTo>
                        <a:pt x="1278" y="0"/>
                      </a:lnTo>
                      <a:lnTo>
                        <a:pt x="1282" y="0"/>
                      </a:lnTo>
                      <a:close/>
                      <a:moveTo>
                        <a:pt x="1331" y="0"/>
                      </a:moveTo>
                      <a:lnTo>
                        <a:pt x="1331" y="19"/>
                      </a:lnTo>
                      <a:lnTo>
                        <a:pt x="1327" y="19"/>
                      </a:lnTo>
                      <a:lnTo>
                        <a:pt x="1327" y="0"/>
                      </a:lnTo>
                      <a:lnTo>
                        <a:pt x="1331" y="0"/>
                      </a:lnTo>
                      <a:close/>
                      <a:moveTo>
                        <a:pt x="1380" y="0"/>
                      </a:moveTo>
                      <a:lnTo>
                        <a:pt x="1380" y="19"/>
                      </a:lnTo>
                      <a:lnTo>
                        <a:pt x="1376" y="19"/>
                      </a:lnTo>
                      <a:lnTo>
                        <a:pt x="1376" y="0"/>
                      </a:lnTo>
                      <a:lnTo>
                        <a:pt x="1380" y="0"/>
                      </a:lnTo>
                      <a:close/>
                      <a:moveTo>
                        <a:pt x="1430" y="0"/>
                      </a:moveTo>
                      <a:lnTo>
                        <a:pt x="1430" y="19"/>
                      </a:lnTo>
                      <a:lnTo>
                        <a:pt x="1425" y="19"/>
                      </a:lnTo>
                      <a:lnTo>
                        <a:pt x="1425" y="0"/>
                      </a:lnTo>
                      <a:lnTo>
                        <a:pt x="1430" y="0"/>
                      </a:lnTo>
                      <a:close/>
                      <a:moveTo>
                        <a:pt x="1479" y="0"/>
                      </a:moveTo>
                      <a:lnTo>
                        <a:pt x="1479" y="19"/>
                      </a:lnTo>
                      <a:lnTo>
                        <a:pt x="1475" y="19"/>
                      </a:lnTo>
                      <a:lnTo>
                        <a:pt x="1475" y="0"/>
                      </a:lnTo>
                      <a:lnTo>
                        <a:pt x="1479" y="0"/>
                      </a:lnTo>
                      <a:close/>
                      <a:moveTo>
                        <a:pt x="1528" y="0"/>
                      </a:moveTo>
                      <a:lnTo>
                        <a:pt x="1528" y="19"/>
                      </a:lnTo>
                      <a:lnTo>
                        <a:pt x="1524" y="19"/>
                      </a:lnTo>
                      <a:lnTo>
                        <a:pt x="1524" y="0"/>
                      </a:lnTo>
                      <a:lnTo>
                        <a:pt x="1528"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984" name="Freeform 105">
                  <a:extLst>
                    <a:ext uri="{FF2B5EF4-FFF2-40B4-BE49-F238E27FC236}">
                      <a16:creationId xmlns:a16="http://schemas.microsoft.com/office/drawing/2014/main" id="{A2193BBC-4DD3-8DD2-2764-F39E793556BF}"/>
                    </a:ext>
                  </a:extLst>
                </p:cNvPr>
                <p:cNvSpPr>
                  <a:spLocks/>
                </p:cNvSpPr>
                <p:nvPr/>
              </p:nvSpPr>
              <p:spPr bwMode="auto">
                <a:xfrm>
                  <a:off x="2043113" y="3236913"/>
                  <a:ext cx="2362200" cy="727075"/>
                </a:xfrm>
                <a:custGeom>
                  <a:avLst/>
                  <a:gdLst>
                    <a:gd name="T0" fmla="*/ 2147483647 w 16696"/>
                    <a:gd name="T1" fmla="*/ 2147483647 h 5145"/>
                    <a:gd name="T2" fmla="*/ 2147483647 w 16696"/>
                    <a:gd name="T3" fmla="*/ 2147483647 h 5145"/>
                    <a:gd name="T4" fmla="*/ 2147483647 w 16696"/>
                    <a:gd name="T5" fmla="*/ 2147483647 h 5145"/>
                    <a:gd name="T6" fmla="*/ 2147483647 w 16696"/>
                    <a:gd name="T7" fmla="*/ 2147483647 h 5145"/>
                    <a:gd name="T8" fmla="*/ 2147483647 w 16696"/>
                    <a:gd name="T9" fmla="*/ 2147483647 h 5145"/>
                    <a:gd name="T10" fmla="*/ 2147483647 w 16696"/>
                    <a:gd name="T11" fmla="*/ 2147483647 h 5145"/>
                    <a:gd name="T12" fmla="*/ 2147483647 w 16696"/>
                    <a:gd name="T13" fmla="*/ 2147483647 h 5145"/>
                    <a:gd name="T14" fmla="*/ 2147483647 w 16696"/>
                    <a:gd name="T15" fmla="*/ 2147483647 h 5145"/>
                    <a:gd name="T16" fmla="*/ 2147483647 w 16696"/>
                    <a:gd name="T17" fmla="*/ 2147483647 h 5145"/>
                    <a:gd name="T18" fmla="*/ 2147483647 w 16696"/>
                    <a:gd name="T19" fmla="*/ 2147483647 h 5145"/>
                    <a:gd name="T20" fmla="*/ 2147483647 w 16696"/>
                    <a:gd name="T21" fmla="*/ 0 h 5145"/>
                    <a:gd name="T22" fmla="*/ 2147483647 w 16696"/>
                    <a:gd name="T23" fmla="*/ 0 h 5145"/>
                    <a:gd name="T24" fmla="*/ 2147483647 w 16696"/>
                    <a:gd name="T25" fmla="*/ 0 h 5145"/>
                    <a:gd name="T26" fmla="*/ 2147483647 w 16696"/>
                    <a:gd name="T27" fmla="*/ 0 h 5145"/>
                    <a:gd name="T28" fmla="*/ 2147483647 w 16696"/>
                    <a:gd name="T29" fmla="*/ 0 h 5145"/>
                    <a:gd name="T30" fmla="*/ 2147483647 w 16696"/>
                    <a:gd name="T31" fmla="*/ 0 h 5145"/>
                    <a:gd name="T32" fmla="*/ 2147483647 w 16696"/>
                    <a:gd name="T33" fmla="*/ 0 h 5145"/>
                    <a:gd name="T34" fmla="*/ 2147483647 w 16696"/>
                    <a:gd name="T35" fmla="*/ 0 h 5145"/>
                    <a:gd name="T36" fmla="*/ 2147483647 w 16696"/>
                    <a:gd name="T37" fmla="*/ 2147483647 h 5145"/>
                    <a:gd name="T38" fmla="*/ 2147483647 w 16696"/>
                    <a:gd name="T39" fmla="*/ 2147483647 h 5145"/>
                    <a:gd name="T40" fmla="*/ 2147483647 w 16696"/>
                    <a:gd name="T41" fmla="*/ 2147483647 h 5145"/>
                    <a:gd name="T42" fmla="*/ 2147483647 w 16696"/>
                    <a:gd name="T43" fmla="*/ 2147483647 h 5145"/>
                    <a:gd name="T44" fmla="*/ 2147483647 w 16696"/>
                    <a:gd name="T45" fmla="*/ 2147483647 h 5145"/>
                    <a:gd name="T46" fmla="*/ 2147483647 w 16696"/>
                    <a:gd name="T47" fmla="*/ 2147483647 h 5145"/>
                    <a:gd name="T48" fmla="*/ 2147483647 w 16696"/>
                    <a:gd name="T49" fmla="*/ 2147483647 h 5145"/>
                    <a:gd name="T50" fmla="*/ 2147483647 w 16696"/>
                    <a:gd name="T51" fmla="*/ 2147483647 h 5145"/>
                    <a:gd name="T52" fmla="*/ 2147483647 w 16696"/>
                    <a:gd name="T53" fmla="*/ 2147483647 h 5145"/>
                    <a:gd name="T54" fmla="*/ 2147483647 w 16696"/>
                    <a:gd name="T55" fmla="*/ 2147483647 h 5145"/>
                    <a:gd name="T56" fmla="*/ 2147483647 w 16696"/>
                    <a:gd name="T57" fmla="*/ 2147483647 h 5145"/>
                    <a:gd name="T58" fmla="*/ 2147483647 w 16696"/>
                    <a:gd name="T59" fmla="*/ 2147483647 h 5145"/>
                    <a:gd name="T60" fmla="*/ 2147483647 w 16696"/>
                    <a:gd name="T61" fmla="*/ 2147483647 h 5145"/>
                    <a:gd name="T62" fmla="*/ 2147483647 w 16696"/>
                    <a:gd name="T63" fmla="*/ 2147483647 h 5145"/>
                    <a:gd name="T64" fmla="*/ 2147483647 w 16696"/>
                    <a:gd name="T65" fmla="*/ 2147483647 h 5145"/>
                    <a:gd name="T66" fmla="*/ 2147483647 w 16696"/>
                    <a:gd name="T67" fmla="*/ 2147483647 h 5145"/>
                    <a:gd name="T68" fmla="*/ 2147483647 w 16696"/>
                    <a:gd name="T69" fmla="*/ 2147483647 h 5145"/>
                    <a:gd name="T70" fmla="*/ 2147483647 w 16696"/>
                    <a:gd name="T71" fmla="*/ 2147483647 h 5145"/>
                    <a:gd name="T72" fmla="*/ 2147483647 w 16696"/>
                    <a:gd name="T73" fmla="*/ 2147483647 h 51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6696" h="5145">
                      <a:moveTo>
                        <a:pt x="11" y="5045"/>
                      </a:moveTo>
                      <a:lnTo>
                        <a:pt x="563" y="3085"/>
                      </a:lnTo>
                      <a:cubicBezTo>
                        <a:pt x="564" y="3081"/>
                        <a:pt x="566" y="3078"/>
                        <a:pt x="567" y="3074"/>
                      </a:cubicBezTo>
                      <a:lnTo>
                        <a:pt x="1119" y="1882"/>
                      </a:lnTo>
                      <a:cubicBezTo>
                        <a:pt x="1121" y="1878"/>
                        <a:pt x="1124" y="1873"/>
                        <a:pt x="1127" y="1869"/>
                      </a:cubicBezTo>
                      <a:lnTo>
                        <a:pt x="1679" y="1141"/>
                      </a:lnTo>
                      <a:cubicBezTo>
                        <a:pt x="1683" y="1136"/>
                        <a:pt x="1687" y="1132"/>
                        <a:pt x="1692" y="1128"/>
                      </a:cubicBezTo>
                      <a:lnTo>
                        <a:pt x="2244" y="696"/>
                      </a:lnTo>
                      <a:cubicBezTo>
                        <a:pt x="2248" y="693"/>
                        <a:pt x="2252" y="690"/>
                        <a:pt x="2257" y="688"/>
                      </a:cubicBezTo>
                      <a:lnTo>
                        <a:pt x="2809" y="416"/>
                      </a:lnTo>
                      <a:cubicBezTo>
                        <a:pt x="2812" y="414"/>
                        <a:pt x="2816" y="412"/>
                        <a:pt x="2820" y="411"/>
                      </a:cubicBezTo>
                      <a:lnTo>
                        <a:pt x="3372" y="251"/>
                      </a:lnTo>
                      <a:lnTo>
                        <a:pt x="3932" y="154"/>
                      </a:lnTo>
                      <a:lnTo>
                        <a:pt x="4489" y="97"/>
                      </a:lnTo>
                      <a:lnTo>
                        <a:pt x="5043" y="57"/>
                      </a:lnTo>
                      <a:lnTo>
                        <a:pt x="5597" y="33"/>
                      </a:lnTo>
                      <a:lnTo>
                        <a:pt x="6151" y="24"/>
                      </a:lnTo>
                      <a:lnTo>
                        <a:pt x="6703" y="16"/>
                      </a:lnTo>
                      <a:lnTo>
                        <a:pt x="7247" y="8"/>
                      </a:lnTo>
                      <a:lnTo>
                        <a:pt x="7800" y="8"/>
                      </a:lnTo>
                      <a:lnTo>
                        <a:pt x="8352" y="8"/>
                      </a:lnTo>
                      <a:lnTo>
                        <a:pt x="8903" y="0"/>
                      </a:lnTo>
                      <a:lnTo>
                        <a:pt x="9456" y="0"/>
                      </a:lnTo>
                      <a:lnTo>
                        <a:pt x="10008" y="0"/>
                      </a:lnTo>
                      <a:lnTo>
                        <a:pt x="10560" y="0"/>
                      </a:lnTo>
                      <a:lnTo>
                        <a:pt x="11112" y="0"/>
                      </a:lnTo>
                      <a:lnTo>
                        <a:pt x="11664" y="0"/>
                      </a:lnTo>
                      <a:lnTo>
                        <a:pt x="12216" y="0"/>
                      </a:lnTo>
                      <a:lnTo>
                        <a:pt x="12768" y="0"/>
                      </a:lnTo>
                      <a:lnTo>
                        <a:pt x="13320" y="0"/>
                      </a:lnTo>
                      <a:lnTo>
                        <a:pt x="13872" y="0"/>
                      </a:lnTo>
                      <a:lnTo>
                        <a:pt x="14424" y="0"/>
                      </a:lnTo>
                      <a:lnTo>
                        <a:pt x="14968" y="0"/>
                      </a:lnTo>
                      <a:lnTo>
                        <a:pt x="15520" y="0"/>
                      </a:lnTo>
                      <a:lnTo>
                        <a:pt x="16072" y="0"/>
                      </a:lnTo>
                      <a:lnTo>
                        <a:pt x="16624" y="0"/>
                      </a:lnTo>
                      <a:cubicBezTo>
                        <a:pt x="16664" y="0"/>
                        <a:pt x="16696" y="33"/>
                        <a:pt x="16696" y="72"/>
                      </a:cubicBezTo>
                      <a:cubicBezTo>
                        <a:pt x="16696" y="112"/>
                        <a:pt x="16664" y="144"/>
                        <a:pt x="16624" y="144"/>
                      </a:cubicBezTo>
                      <a:lnTo>
                        <a:pt x="16072" y="144"/>
                      </a:lnTo>
                      <a:lnTo>
                        <a:pt x="15520" y="144"/>
                      </a:lnTo>
                      <a:lnTo>
                        <a:pt x="14968" y="144"/>
                      </a:lnTo>
                      <a:lnTo>
                        <a:pt x="14424" y="144"/>
                      </a:lnTo>
                      <a:lnTo>
                        <a:pt x="13872" y="144"/>
                      </a:lnTo>
                      <a:lnTo>
                        <a:pt x="13320" y="144"/>
                      </a:lnTo>
                      <a:lnTo>
                        <a:pt x="12768" y="144"/>
                      </a:lnTo>
                      <a:lnTo>
                        <a:pt x="12216" y="144"/>
                      </a:lnTo>
                      <a:lnTo>
                        <a:pt x="11664" y="144"/>
                      </a:lnTo>
                      <a:lnTo>
                        <a:pt x="11112" y="144"/>
                      </a:lnTo>
                      <a:lnTo>
                        <a:pt x="10560" y="144"/>
                      </a:lnTo>
                      <a:lnTo>
                        <a:pt x="10008" y="144"/>
                      </a:lnTo>
                      <a:lnTo>
                        <a:pt x="9456" y="144"/>
                      </a:lnTo>
                      <a:lnTo>
                        <a:pt x="8906" y="144"/>
                      </a:lnTo>
                      <a:lnTo>
                        <a:pt x="8352" y="152"/>
                      </a:lnTo>
                      <a:lnTo>
                        <a:pt x="7800" y="152"/>
                      </a:lnTo>
                      <a:lnTo>
                        <a:pt x="7250" y="152"/>
                      </a:lnTo>
                      <a:lnTo>
                        <a:pt x="6706" y="160"/>
                      </a:lnTo>
                      <a:lnTo>
                        <a:pt x="6154" y="168"/>
                      </a:lnTo>
                      <a:lnTo>
                        <a:pt x="5604" y="176"/>
                      </a:lnTo>
                      <a:lnTo>
                        <a:pt x="5054" y="200"/>
                      </a:lnTo>
                      <a:lnTo>
                        <a:pt x="4504" y="240"/>
                      </a:lnTo>
                      <a:lnTo>
                        <a:pt x="3957" y="295"/>
                      </a:lnTo>
                      <a:lnTo>
                        <a:pt x="3413" y="390"/>
                      </a:lnTo>
                      <a:lnTo>
                        <a:pt x="2861" y="550"/>
                      </a:lnTo>
                      <a:lnTo>
                        <a:pt x="2872" y="545"/>
                      </a:lnTo>
                      <a:lnTo>
                        <a:pt x="2320" y="817"/>
                      </a:lnTo>
                      <a:lnTo>
                        <a:pt x="2333" y="809"/>
                      </a:lnTo>
                      <a:lnTo>
                        <a:pt x="1781" y="1241"/>
                      </a:lnTo>
                      <a:lnTo>
                        <a:pt x="1794" y="1228"/>
                      </a:lnTo>
                      <a:lnTo>
                        <a:pt x="1242" y="1956"/>
                      </a:lnTo>
                      <a:lnTo>
                        <a:pt x="1250" y="1943"/>
                      </a:lnTo>
                      <a:lnTo>
                        <a:pt x="698" y="3135"/>
                      </a:lnTo>
                      <a:lnTo>
                        <a:pt x="702" y="3124"/>
                      </a:lnTo>
                      <a:lnTo>
                        <a:pt x="150" y="5084"/>
                      </a:lnTo>
                      <a:cubicBezTo>
                        <a:pt x="139" y="5122"/>
                        <a:pt x="99" y="5145"/>
                        <a:pt x="61" y="5134"/>
                      </a:cubicBezTo>
                      <a:cubicBezTo>
                        <a:pt x="23" y="5123"/>
                        <a:pt x="0" y="5083"/>
                        <a:pt x="11" y="5045"/>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985" name="Freeform 106">
                  <a:extLst>
                    <a:ext uri="{FF2B5EF4-FFF2-40B4-BE49-F238E27FC236}">
                      <a16:creationId xmlns:a16="http://schemas.microsoft.com/office/drawing/2014/main" id="{26DF7507-AF0F-4634-8FD8-EEF8A9559E09}"/>
                    </a:ext>
                  </a:extLst>
                </p:cNvPr>
                <p:cNvSpPr>
                  <a:spLocks/>
                </p:cNvSpPr>
                <p:nvPr/>
              </p:nvSpPr>
              <p:spPr bwMode="auto">
                <a:xfrm>
                  <a:off x="2020888" y="391953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86" name="Freeform 107">
                  <a:extLst>
                    <a:ext uri="{FF2B5EF4-FFF2-40B4-BE49-F238E27FC236}">
                      <a16:creationId xmlns:a16="http://schemas.microsoft.com/office/drawing/2014/main" id="{76700520-7B08-A975-9A64-95605B780A0D}"/>
                    </a:ext>
                  </a:extLst>
                </p:cNvPr>
                <p:cNvSpPr>
                  <a:spLocks noEditPoints="1"/>
                </p:cNvSpPr>
                <p:nvPr/>
              </p:nvSpPr>
              <p:spPr bwMode="auto">
                <a:xfrm>
                  <a:off x="2017713" y="3916363"/>
                  <a:ext cx="73025" cy="71438"/>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87" name="Freeform 108">
                  <a:extLst>
                    <a:ext uri="{FF2B5EF4-FFF2-40B4-BE49-F238E27FC236}">
                      <a16:creationId xmlns:a16="http://schemas.microsoft.com/office/drawing/2014/main" id="{0EA719D2-4755-18A4-6654-DCFC1F6F0C8A}"/>
                    </a:ext>
                  </a:extLst>
                </p:cNvPr>
                <p:cNvSpPr>
                  <a:spLocks/>
                </p:cNvSpPr>
                <p:nvPr/>
              </p:nvSpPr>
              <p:spPr bwMode="auto">
                <a:xfrm>
                  <a:off x="2100263" y="364013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88" name="Freeform 109">
                  <a:extLst>
                    <a:ext uri="{FF2B5EF4-FFF2-40B4-BE49-F238E27FC236}">
                      <a16:creationId xmlns:a16="http://schemas.microsoft.com/office/drawing/2014/main" id="{AE5C1CDD-FF0F-D16A-912A-DB4ACE36ECD2}"/>
                    </a:ext>
                  </a:extLst>
                </p:cNvPr>
                <p:cNvSpPr>
                  <a:spLocks noEditPoints="1"/>
                </p:cNvSpPr>
                <p:nvPr/>
              </p:nvSpPr>
              <p:spPr bwMode="auto">
                <a:xfrm>
                  <a:off x="2097088" y="3636963"/>
                  <a:ext cx="71438"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89" name="Freeform 110">
                  <a:extLst>
                    <a:ext uri="{FF2B5EF4-FFF2-40B4-BE49-F238E27FC236}">
                      <a16:creationId xmlns:a16="http://schemas.microsoft.com/office/drawing/2014/main" id="{65A4434E-9751-C95E-A770-C4661088997C}"/>
                    </a:ext>
                  </a:extLst>
                </p:cNvPr>
                <p:cNvSpPr>
                  <a:spLocks/>
                </p:cNvSpPr>
                <p:nvPr/>
              </p:nvSpPr>
              <p:spPr bwMode="auto">
                <a:xfrm>
                  <a:off x="2178050" y="347186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0" name="Freeform 111">
                  <a:extLst>
                    <a:ext uri="{FF2B5EF4-FFF2-40B4-BE49-F238E27FC236}">
                      <a16:creationId xmlns:a16="http://schemas.microsoft.com/office/drawing/2014/main" id="{90A7AA57-785D-61D2-1139-05606D908E04}"/>
                    </a:ext>
                  </a:extLst>
                </p:cNvPr>
                <p:cNvSpPr>
                  <a:spLocks noEditPoints="1"/>
                </p:cNvSpPr>
                <p:nvPr/>
              </p:nvSpPr>
              <p:spPr bwMode="auto">
                <a:xfrm>
                  <a:off x="2174875" y="3468688"/>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1"/>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91" name="Freeform 112">
                  <a:extLst>
                    <a:ext uri="{FF2B5EF4-FFF2-40B4-BE49-F238E27FC236}">
                      <a16:creationId xmlns:a16="http://schemas.microsoft.com/office/drawing/2014/main" id="{602AAF06-B20C-4063-4D80-D46A896AF30E}"/>
                    </a:ext>
                  </a:extLst>
                </p:cNvPr>
                <p:cNvSpPr>
                  <a:spLocks/>
                </p:cNvSpPr>
                <p:nvPr/>
              </p:nvSpPr>
              <p:spPr bwMode="auto">
                <a:xfrm>
                  <a:off x="2255838" y="337026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2" name="Freeform 113">
                  <a:extLst>
                    <a:ext uri="{FF2B5EF4-FFF2-40B4-BE49-F238E27FC236}">
                      <a16:creationId xmlns:a16="http://schemas.microsoft.com/office/drawing/2014/main" id="{BC6F2349-6516-86D3-72F4-A847E1B67607}"/>
                    </a:ext>
                  </a:extLst>
                </p:cNvPr>
                <p:cNvSpPr>
                  <a:spLocks noEditPoints="1"/>
                </p:cNvSpPr>
                <p:nvPr/>
              </p:nvSpPr>
              <p:spPr bwMode="auto">
                <a:xfrm>
                  <a:off x="2252663" y="3367088"/>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93" name="Freeform 114">
                  <a:extLst>
                    <a:ext uri="{FF2B5EF4-FFF2-40B4-BE49-F238E27FC236}">
                      <a16:creationId xmlns:a16="http://schemas.microsoft.com/office/drawing/2014/main" id="{0AABDABD-8C10-FE0C-45CC-7F665F739A6B}"/>
                    </a:ext>
                  </a:extLst>
                </p:cNvPr>
                <p:cNvSpPr>
                  <a:spLocks/>
                </p:cNvSpPr>
                <p:nvPr/>
              </p:nvSpPr>
              <p:spPr bwMode="auto">
                <a:xfrm>
                  <a:off x="2333625" y="3308351"/>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4" name="Freeform 115">
                  <a:extLst>
                    <a:ext uri="{FF2B5EF4-FFF2-40B4-BE49-F238E27FC236}">
                      <a16:creationId xmlns:a16="http://schemas.microsoft.com/office/drawing/2014/main" id="{66B470AE-4289-008A-BC0E-614F0823BBCE}"/>
                    </a:ext>
                  </a:extLst>
                </p:cNvPr>
                <p:cNvSpPr>
                  <a:spLocks noEditPoints="1"/>
                </p:cNvSpPr>
                <p:nvPr/>
              </p:nvSpPr>
              <p:spPr bwMode="auto">
                <a:xfrm>
                  <a:off x="2330450" y="330517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95" name="Freeform 116">
                  <a:extLst>
                    <a:ext uri="{FF2B5EF4-FFF2-40B4-BE49-F238E27FC236}">
                      <a16:creationId xmlns:a16="http://schemas.microsoft.com/office/drawing/2014/main" id="{479BE9C5-D9B7-FCE5-DEAC-D0518E42502C}"/>
                    </a:ext>
                  </a:extLst>
                </p:cNvPr>
                <p:cNvSpPr>
                  <a:spLocks/>
                </p:cNvSpPr>
                <p:nvPr/>
              </p:nvSpPr>
              <p:spPr bwMode="auto">
                <a:xfrm>
                  <a:off x="2411413" y="327183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6" name="Freeform 117">
                  <a:extLst>
                    <a:ext uri="{FF2B5EF4-FFF2-40B4-BE49-F238E27FC236}">
                      <a16:creationId xmlns:a16="http://schemas.microsoft.com/office/drawing/2014/main" id="{5F75FCFD-63D7-E376-42DF-12E7B833E940}"/>
                    </a:ext>
                  </a:extLst>
                </p:cNvPr>
                <p:cNvSpPr>
                  <a:spLocks noEditPoints="1"/>
                </p:cNvSpPr>
                <p:nvPr/>
              </p:nvSpPr>
              <p:spPr bwMode="auto">
                <a:xfrm>
                  <a:off x="2408238" y="3268663"/>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97" name="Freeform 118">
                  <a:extLst>
                    <a:ext uri="{FF2B5EF4-FFF2-40B4-BE49-F238E27FC236}">
                      <a16:creationId xmlns:a16="http://schemas.microsoft.com/office/drawing/2014/main" id="{9BA40C22-8342-2EDB-DA22-91A71C3DF6D0}"/>
                    </a:ext>
                  </a:extLst>
                </p:cNvPr>
                <p:cNvSpPr>
                  <a:spLocks/>
                </p:cNvSpPr>
                <p:nvPr/>
              </p:nvSpPr>
              <p:spPr bwMode="auto">
                <a:xfrm>
                  <a:off x="2489200" y="324802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8" name="Freeform 119">
                  <a:extLst>
                    <a:ext uri="{FF2B5EF4-FFF2-40B4-BE49-F238E27FC236}">
                      <a16:creationId xmlns:a16="http://schemas.microsoft.com/office/drawing/2014/main" id="{A7A81167-B316-3DD5-AC79-9D2F3F123655}"/>
                    </a:ext>
                  </a:extLst>
                </p:cNvPr>
                <p:cNvSpPr>
                  <a:spLocks noEditPoints="1"/>
                </p:cNvSpPr>
                <p:nvPr/>
              </p:nvSpPr>
              <p:spPr bwMode="auto">
                <a:xfrm>
                  <a:off x="2486025" y="32448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99" name="Freeform 120">
                  <a:extLst>
                    <a:ext uri="{FF2B5EF4-FFF2-40B4-BE49-F238E27FC236}">
                      <a16:creationId xmlns:a16="http://schemas.microsoft.com/office/drawing/2014/main" id="{2B6385FB-BA67-18D2-6CF4-99E0EF653618}"/>
                    </a:ext>
                  </a:extLst>
                </p:cNvPr>
                <p:cNvSpPr>
                  <a:spLocks/>
                </p:cNvSpPr>
                <p:nvPr/>
              </p:nvSpPr>
              <p:spPr bwMode="auto">
                <a:xfrm>
                  <a:off x="2566988" y="3235326"/>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0" name="Freeform 121">
                  <a:extLst>
                    <a:ext uri="{FF2B5EF4-FFF2-40B4-BE49-F238E27FC236}">
                      <a16:creationId xmlns:a16="http://schemas.microsoft.com/office/drawing/2014/main" id="{346116F0-1A5D-931D-AA0F-EBF14B3E432E}"/>
                    </a:ext>
                  </a:extLst>
                </p:cNvPr>
                <p:cNvSpPr>
                  <a:spLocks noEditPoints="1"/>
                </p:cNvSpPr>
                <p:nvPr/>
              </p:nvSpPr>
              <p:spPr bwMode="auto">
                <a:xfrm>
                  <a:off x="2563813" y="3232151"/>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01" name="Freeform 122">
                  <a:extLst>
                    <a:ext uri="{FF2B5EF4-FFF2-40B4-BE49-F238E27FC236}">
                      <a16:creationId xmlns:a16="http://schemas.microsoft.com/office/drawing/2014/main" id="{99DFAFCA-AAF4-7968-7863-65883DED64A9}"/>
                    </a:ext>
                  </a:extLst>
                </p:cNvPr>
                <p:cNvSpPr>
                  <a:spLocks/>
                </p:cNvSpPr>
                <p:nvPr/>
              </p:nvSpPr>
              <p:spPr bwMode="auto">
                <a:xfrm>
                  <a:off x="2644775" y="3225801"/>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2" name="Freeform 123">
                  <a:extLst>
                    <a:ext uri="{FF2B5EF4-FFF2-40B4-BE49-F238E27FC236}">
                      <a16:creationId xmlns:a16="http://schemas.microsoft.com/office/drawing/2014/main" id="{98C6EA27-E880-87B6-933D-1559BFB4F37E}"/>
                    </a:ext>
                  </a:extLst>
                </p:cNvPr>
                <p:cNvSpPr>
                  <a:spLocks noEditPoints="1"/>
                </p:cNvSpPr>
                <p:nvPr/>
              </p:nvSpPr>
              <p:spPr bwMode="auto">
                <a:xfrm>
                  <a:off x="2641600" y="32226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03" name="Freeform 124">
                  <a:extLst>
                    <a:ext uri="{FF2B5EF4-FFF2-40B4-BE49-F238E27FC236}">
                      <a16:creationId xmlns:a16="http://schemas.microsoft.com/office/drawing/2014/main" id="{4168AB47-4202-6D02-939A-7F26F335AFA3}"/>
                    </a:ext>
                  </a:extLst>
                </p:cNvPr>
                <p:cNvSpPr>
                  <a:spLocks/>
                </p:cNvSpPr>
                <p:nvPr/>
              </p:nvSpPr>
              <p:spPr bwMode="auto">
                <a:xfrm>
                  <a:off x="2724150" y="322103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4" name="Freeform 125">
                  <a:extLst>
                    <a:ext uri="{FF2B5EF4-FFF2-40B4-BE49-F238E27FC236}">
                      <a16:creationId xmlns:a16="http://schemas.microsoft.com/office/drawing/2014/main" id="{8D37DD31-1966-C06D-DF3D-96372236A0C9}"/>
                    </a:ext>
                  </a:extLst>
                </p:cNvPr>
                <p:cNvSpPr>
                  <a:spLocks noEditPoints="1"/>
                </p:cNvSpPr>
                <p:nvPr/>
              </p:nvSpPr>
              <p:spPr bwMode="auto">
                <a:xfrm>
                  <a:off x="2719388" y="321786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05" name="Freeform 126">
                  <a:extLst>
                    <a:ext uri="{FF2B5EF4-FFF2-40B4-BE49-F238E27FC236}">
                      <a16:creationId xmlns:a16="http://schemas.microsoft.com/office/drawing/2014/main" id="{7CC83C0D-EE2C-F331-CA35-2454A98A58B6}"/>
                    </a:ext>
                  </a:extLst>
                </p:cNvPr>
                <p:cNvSpPr>
                  <a:spLocks/>
                </p:cNvSpPr>
                <p:nvPr/>
              </p:nvSpPr>
              <p:spPr bwMode="auto">
                <a:xfrm>
                  <a:off x="2801938" y="321786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6" name="Freeform 127">
                  <a:extLst>
                    <a:ext uri="{FF2B5EF4-FFF2-40B4-BE49-F238E27FC236}">
                      <a16:creationId xmlns:a16="http://schemas.microsoft.com/office/drawing/2014/main" id="{AD632B5F-D279-F302-5401-D8791AFF6761}"/>
                    </a:ext>
                  </a:extLst>
                </p:cNvPr>
                <p:cNvSpPr>
                  <a:spLocks noEditPoints="1"/>
                </p:cNvSpPr>
                <p:nvPr/>
              </p:nvSpPr>
              <p:spPr bwMode="auto">
                <a:xfrm>
                  <a:off x="2798763" y="3214688"/>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07" name="Freeform 128">
                  <a:extLst>
                    <a:ext uri="{FF2B5EF4-FFF2-40B4-BE49-F238E27FC236}">
                      <a16:creationId xmlns:a16="http://schemas.microsoft.com/office/drawing/2014/main" id="{920434D2-61B1-05C2-1A9F-492B2B76329F}"/>
                    </a:ext>
                  </a:extLst>
                </p:cNvPr>
                <p:cNvSpPr>
                  <a:spLocks/>
                </p:cNvSpPr>
                <p:nvPr/>
              </p:nvSpPr>
              <p:spPr bwMode="auto">
                <a:xfrm>
                  <a:off x="2879725" y="3216276"/>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8" name="Freeform 129">
                  <a:extLst>
                    <a:ext uri="{FF2B5EF4-FFF2-40B4-BE49-F238E27FC236}">
                      <a16:creationId xmlns:a16="http://schemas.microsoft.com/office/drawing/2014/main" id="{65A6DD72-8C3B-A9C1-A0EB-E5F0DC48BC85}"/>
                    </a:ext>
                  </a:extLst>
                </p:cNvPr>
                <p:cNvSpPr>
                  <a:spLocks noEditPoints="1"/>
                </p:cNvSpPr>
                <p:nvPr/>
              </p:nvSpPr>
              <p:spPr bwMode="auto">
                <a:xfrm>
                  <a:off x="2876550" y="3213101"/>
                  <a:ext cx="73025" cy="71438"/>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09" name="Freeform 130">
                  <a:extLst>
                    <a:ext uri="{FF2B5EF4-FFF2-40B4-BE49-F238E27FC236}">
                      <a16:creationId xmlns:a16="http://schemas.microsoft.com/office/drawing/2014/main" id="{A0913145-AA06-6A36-21E6-E93AFF6E6BA0}"/>
                    </a:ext>
                  </a:extLst>
                </p:cNvPr>
                <p:cNvSpPr>
                  <a:spLocks/>
                </p:cNvSpPr>
                <p:nvPr/>
              </p:nvSpPr>
              <p:spPr bwMode="auto">
                <a:xfrm>
                  <a:off x="2957513" y="321468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0" name="Freeform 131">
                  <a:extLst>
                    <a:ext uri="{FF2B5EF4-FFF2-40B4-BE49-F238E27FC236}">
                      <a16:creationId xmlns:a16="http://schemas.microsoft.com/office/drawing/2014/main" id="{040D1502-2A2D-5076-851D-5566568A8527}"/>
                    </a:ext>
                  </a:extLst>
                </p:cNvPr>
                <p:cNvSpPr>
                  <a:spLocks noEditPoints="1"/>
                </p:cNvSpPr>
                <p:nvPr/>
              </p:nvSpPr>
              <p:spPr bwMode="auto">
                <a:xfrm>
                  <a:off x="2954338" y="32115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11" name="Freeform 132">
                  <a:extLst>
                    <a:ext uri="{FF2B5EF4-FFF2-40B4-BE49-F238E27FC236}">
                      <a16:creationId xmlns:a16="http://schemas.microsoft.com/office/drawing/2014/main" id="{10B65082-C82D-356D-62DA-1EF9C5DFD680}"/>
                    </a:ext>
                  </a:extLst>
                </p:cNvPr>
                <p:cNvSpPr>
                  <a:spLocks/>
                </p:cNvSpPr>
                <p:nvPr/>
              </p:nvSpPr>
              <p:spPr bwMode="auto">
                <a:xfrm>
                  <a:off x="3035300" y="321468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2" name="Freeform 133">
                  <a:extLst>
                    <a:ext uri="{FF2B5EF4-FFF2-40B4-BE49-F238E27FC236}">
                      <a16:creationId xmlns:a16="http://schemas.microsoft.com/office/drawing/2014/main" id="{A64E2999-4879-2917-D6C0-A87EF3DACCE0}"/>
                    </a:ext>
                  </a:extLst>
                </p:cNvPr>
                <p:cNvSpPr>
                  <a:spLocks noEditPoints="1"/>
                </p:cNvSpPr>
                <p:nvPr/>
              </p:nvSpPr>
              <p:spPr bwMode="auto">
                <a:xfrm>
                  <a:off x="3032125" y="3211513"/>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13" name="Freeform 134">
                  <a:extLst>
                    <a:ext uri="{FF2B5EF4-FFF2-40B4-BE49-F238E27FC236}">
                      <a16:creationId xmlns:a16="http://schemas.microsoft.com/office/drawing/2014/main" id="{7B00B1FA-3098-3F8F-02C5-422B21F7C3D2}"/>
                    </a:ext>
                  </a:extLst>
                </p:cNvPr>
                <p:cNvSpPr>
                  <a:spLocks/>
                </p:cNvSpPr>
                <p:nvPr/>
              </p:nvSpPr>
              <p:spPr bwMode="auto">
                <a:xfrm>
                  <a:off x="3114675"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4" name="Freeform 135">
                  <a:extLst>
                    <a:ext uri="{FF2B5EF4-FFF2-40B4-BE49-F238E27FC236}">
                      <a16:creationId xmlns:a16="http://schemas.microsoft.com/office/drawing/2014/main" id="{13D57565-6D56-F528-1F49-B53D6EE25E9E}"/>
                    </a:ext>
                  </a:extLst>
                </p:cNvPr>
                <p:cNvSpPr>
                  <a:spLocks noEditPoints="1"/>
                </p:cNvSpPr>
                <p:nvPr/>
              </p:nvSpPr>
              <p:spPr bwMode="auto">
                <a:xfrm>
                  <a:off x="3111500" y="3209926"/>
                  <a:ext cx="71438"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15" name="Freeform 136">
                  <a:extLst>
                    <a:ext uri="{FF2B5EF4-FFF2-40B4-BE49-F238E27FC236}">
                      <a16:creationId xmlns:a16="http://schemas.microsoft.com/office/drawing/2014/main" id="{013DFBF7-5548-1CD0-6F7C-3777E03B720D}"/>
                    </a:ext>
                  </a:extLst>
                </p:cNvPr>
                <p:cNvSpPr>
                  <a:spLocks/>
                </p:cNvSpPr>
                <p:nvPr/>
              </p:nvSpPr>
              <p:spPr bwMode="auto">
                <a:xfrm>
                  <a:off x="3192463"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6" name="Freeform 137">
                  <a:extLst>
                    <a:ext uri="{FF2B5EF4-FFF2-40B4-BE49-F238E27FC236}">
                      <a16:creationId xmlns:a16="http://schemas.microsoft.com/office/drawing/2014/main" id="{D2141DB0-05EB-0133-24CB-25CFC1B50E90}"/>
                    </a:ext>
                  </a:extLst>
                </p:cNvPr>
                <p:cNvSpPr>
                  <a:spLocks noEditPoints="1"/>
                </p:cNvSpPr>
                <p:nvPr/>
              </p:nvSpPr>
              <p:spPr bwMode="auto">
                <a:xfrm>
                  <a:off x="3189288"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17" name="Freeform 138">
                  <a:extLst>
                    <a:ext uri="{FF2B5EF4-FFF2-40B4-BE49-F238E27FC236}">
                      <a16:creationId xmlns:a16="http://schemas.microsoft.com/office/drawing/2014/main" id="{EB4A25F7-5B64-BEC0-7587-52EF61742CEF}"/>
                    </a:ext>
                  </a:extLst>
                </p:cNvPr>
                <p:cNvSpPr>
                  <a:spLocks/>
                </p:cNvSpPr>
                <p:nvPr/>
              </p:nvSpPr>
              <p:spPr bwMode="auto">
                <a:xfrm>
                  <a:off x="3270250"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8" name="Freeform 139">
                  <a:extLst>
                    <a:ext uri="{FF2B5EF4-FFF2-40B4-BE49-F238E27FC236}">
                      <a16:creationId xmlns:a16="http://schemas.microsoft.com/office/drawing/2014/main" id="{C2BA449B-F577-DEDB-C886-FDB94BAA1C0E}"/>
                    </a:ext>
                  </a:extLst>
                </p:cNvPr>
                <p:cNvSpPr>
                  <a:spLocks noEditPoints="1"/>
                </p:cNvSpPr>
                <p:nvPr/>
              </p:nvSpPr>
              <p:spPr bwMode="auto">
                <a:xfrm>
                  <a:off x="3267075"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19" name="Freeform 140">
                  <a:extLst>
                    <a:ext uri="{FF2B5EF4-FFF2-40B4-BE49-F238E27FC236}">
                      <a16:creationId xmlns:a16="http://schemas.microsoft.com/office/drawing/2014/main" id="{007BA86F-8E42-2A38-6BED-9BAA36F4D177}"/>
                    </a:ext>
                  </a:extLst>
                </p:cNvPr>
                <p:cNvSpPr>
                  <a:spLocks/>
                </p:cNvSpPr>
                <p:nvPr/>
              </p:nvSpPr>
              <p:spPr bwMode="auto">
                <a:xfrm>
                  <a:off x="3348038"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0" name="Freeform 141">
                  <a:extLst>
                    <a:ext uri="{FF2B5EF4-FFF2-40B4-BE49-F238E27FC236}">
                      <a16:creationId xmlns:a16="http://schemas.microsoft.com/office/drawing/2014/main" id="{764D4D88-AF9F-8E24-D581-44BC07976C08}"/>
                    </a:ext>
                  </a:extLst>
                </p:cNvPr>
                <p:cNvSpPr>
                  <a:spLocks noEditPoints="1"/>
                </p:cNvSpPr>
                <p:nvPr/>
              </p:nvSpPr>
              <p:spPr bwMode="auto">
                <a:xfrm>
                  <a:off x="3344863"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21" name="Freeform 142">
                  <a:extLst>
                    <a:ext uri="{FF2B5EF4-FFF2-40B4-BE49-F238E27FC236}">
                      <a16:creationId xmlns:a16="http://schemas.microsoft.com/office/drawing/2014/main" id="{07E4D48E-7A18-3E32-920C-E7AC7E2FF5CA}"/>
                    </a:ext>
                  </a:extLst>
                </p:cNvPr>
                <p:cNvSpPr>
                  <a:spLocks/>
                </p:cNvSpPr>
                <p:nvPr/>
              </p:nvSpPr>
              <p:spPr bwMode="auto">
                <a:xfrm>
                  <a:off x="3427413"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2" name="Freeform 143">
                  <a:extLst>
                    <a:ext uri="{FF2B5EF4-FFF2-40B4-BE49-F238E27FC236}">
                      <a16:creationId xmlns:a16="http://schemas.microsoft.com/office/drawing/2014/main" id="{DE62A2AB-EC2A-16EC-BDF5-760BD92E36C6}"/>
                    </a:ext>
                  </a:extLst>
                </p:cNvPr>
                <p:cNvSpPr>
                  <a:spLocks noEditPoints="1"/>
                </p:cNvSpPr>
                <p:nvPr/>
              </p:nvSpPr>
              <p:spPr bwMode="auto">
                <a:xfrm>
                  <a:off x="3422650"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23" name="Freeform 144">
                  <a:extLst>
                    <a:ext uri="{FF2B5EF4-FFF2-40B4-BE49-F238E27FC236}">
                      <a16:creationId xmlns:a16="http://schemas.microsoft.com/office/drawing/2014/main" id="{B54D8974-BDF0-154C-F7C1-F36A9DEFFBDF}"/>
                    </a:ext>
                  </a:extLst>
                </p:cNvPr>
                <p:cNvSpPr>
                  <a:spLocks/>
                </p:cNvSpPr>
                <p:nvPr/>
              </p:nvSpPr>
              <p:spPr bwMode="auto">
                <a:xfrm>
                  <a:off x="3505200"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4" name="Freeform 145">
                  <a:extLst>
                    <a:ext uri="{FF2B5EF4-FFF2-40B4-BE49-F238E27FC236}">
                      <a16:creationId xmlns:a16="http://schemas.microsoft.com/office/drawing/2014/main" id="{57FB77CB-8A0B-EAEF-B370-FFA6720B0ED8}"/>
                    </a:ext>
                  </a:extLst>
                </p:cNvPr>
                <p:cNvSpPr>
                  <a:spLocks noEditPoints="1"/>
                </p:cNvSpPr>
                <p:nvPr/>
              </p:nvSpPr>
              <p:spPr bwMode="auto">
                <a:xfrm>
                  <a:off x="3502025" y="3209926"/>
                  <a:ext cx="71438"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25" name="Freeform 146">
                  <a:extLst>
                    <a:ext uri="{FF2B5EF4-FFF2-40B4-BE49-F238E27FC236}">
                      <a16:creationId xmlns:a16="http://schemas.microsoft.com/office/drawing/2014/main" id="{D008415B-1DCF-42DD-7F91-072EBFE0A078}"/>
                    </a:ext>
                  </a:extLst>
                </p:cNvPr>
                <p:cNvSpPr>
                  <a:spLocks/>
                </p:cNvSpPr>
                <p:nvPr/>
              </p:nvSpPr>
              <p:spPr bwMode="auto">
                <a:xfrm>
                  <a:off x="3581400"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6" name="Freeform 147">
                  <a:extLst>
                    <a:ext uri="{FF2B5EF4-FFF2-40B4-BE49-F238E27FC236}">
                      <a16:creationId xmlns:a16="http://schemas.microsoft.com/office/drawing/2014/main" id="{BB945D91-8EB4-F636-878B-A7988314AD86}"/>
                    </a:ext>
                  </a:extLst>
                </p:cNvPr>
                <p:cNvSpPr>
                  <a:spLocks noEditPoints="1"/>
                </p:cNvSpPr>
                <p:nvPr/>
              </p:nvSpPr>
              <p:spPr bwMode="auto">
                <a:xfrm>
                  <a:off x="3578225"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27" name="Freeform 148">
                  <a:extLst>
                    <a:ext uri="{FF2B5EF4-FFF2-40B4-BE49-F238E27FC236}">
                      <a16:creationId xmlns:a16="http://schemas.microsoft.com/office/drawing/2014/main" id="{2BAF28E4-2A41-3F7E-B18B-6F032FD70D87}"/>
                    </a:ext>
                  </a:extLst>
                </p:cNvPr>
                <p:cNvSpPr>
                  <a:spLocks/>
                </p:cNvSpPr>
                <p:nvPr/>
              </p:nvSpPr>
              <p:spPr bwMode="auto">
                <a:xfrm>
                  <a:off x="3659188"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8" name="Freeform 149">
                  <a:extLst>
                    <a:ext uri="{FF2B5EF4-FFF2-40B4-BE49-F238E27FC236}">
                      <a16:creationId xmlns:a16="http://schemas.microsoft.com/office/drawing/2014/main" id="{69CD0110-AA0F-BB01-41A0-0A4451964796}"/>
                    </a:ext>
                  </a:extLst>
                </p:cNvPr>
                <p:cNvSpPr>
                  <a:spLocks noEditPoints="1"/>
                </p:cNvSpPr>
                <p:nvPr/>
              </p:nvSpPr>
              <p:spPr bwMode="auto">
                <a:xfrm>
                  <a:off x="3656013"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29" name="Freeform 150">
                  <a:extLst>
                    <a:ext uri="{FF2B5EF4-FFF2-40B4-BE49-F238E27FC236}">
                      <a16:creationId xmlns:a16="http://schemas.microsoft.com/office/drawing/2014/main" id="{06BC18D4-68F2-2856-928E-2A870A622445}"/>
                    </a:ext>
                  </a:extLst>
                </p:cNvPr>
                <p:cNvSpPr>
                  <a:spLocks/>
                </p:cNvSpPr>
                <p:nvPr/>
              </p:nvSpPr>
              <p:spPr bwMode="auto">
                <a:xfrm>
                  <a:off x="3738563"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0" name="Freeform 151">
                  <a:extLst>
                    <a:ext uri="{FF2B5EF4-FFF2-40B4-BE49-F238E27FC236}">
                      <a16:creationId xmlns:a16="http://schemas.microsoft.com/office/drawing/2014/main" id="{408A2C65-9238-E2FC-D138-485BE641E6B8}"/>
                    </a:ext>
                  </a:extLst>
                </p:cNvPr>
                <p:cNvSpPr>
                  <a:spLocks noEditPoints="1"/>
                </p:cNvSpPr>
                <p:nvPr/>
              </p:nvSpPr>
              <p:spPr bwMode="auto">
                <a:xfrm>
                  <a:off x="3733800"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31" name="Freeform 152">
                  <a:extLst>
                    <a:ext uri="{FF2B5EF4-FFF2-40B4-BE49-F238E27FC236}">
                      <a16:creationId xmlns:a16="http://schemas.microsoft.com/office/drawing/2014/main" id="{A79C088C-3D25-9B12-2601-F9CFFFC45E78}"/>
                    </a:ext>
                  </a:extLst>
                </p:cNvPr>
                <p:cNvSpPr>
                  <a:spLocks/>
                </p:cNvSpPr>
                <p:nvPr/>
              </p:nvSpPr>
              <p:spPr bwMode="auto">
                <a:xfrm>
                  <a:off x="3816350"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2" name="Freeform 153">
                  <a:extLst>
                    <a:ext uri="{FF2B5EF4-FFF2-40B4-BE49-F238E27FC236}">
                      <a16:creationId xmlns:a16="http://schemas.microsoft.com/office/drawing/2014/main" id="{133D277D-1380-2945-D575-C4C3DA6CD928}"/>
                    </a:ext>
                  </a:extLst>
                </p:cNvPr>
                <p:cNvSpPr>
                  <a:spLocks noEditPoints="1"/>
                </p:cNvSpPr>
                <p:nvPr/>
              </p:nvSpPr>
              <p:spPr bwMode="auto">
                <a:xfrm>
                  <a:off x="3813175"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33" name="Freeform 154">
                  <a:extLst>
                    <a:ext uri="{FF2B5EF4-FFF2-40B4-BE49-F238E27FC236}">
                      <a16:creationId xmlns:a16="http://schemas.microsoft.com/office/drawing/2014/main" id="{98430D58-B37B-AEE6-CD4A-C9F0F48020AB}"/>
                    </a:ext>
                  </a:extLst>
                </p:cNvPr>
                <p:cNvSpPr>
                  <a:spLocks/>
                </p:cNvSpPr>
                <p:nvPr/>
              </p:nvSpPr>
              <p:spPr bwMode="auto">
                <a:xfrm>
                  <a:off x="3894138"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4" name="Freeform 155">
                  <a:extLst>
                    <a:ext uri="{FF2B5EF4-FFF2-40B4-BE49-F238E27FC236}">
                      <a16:creationId xmlns:a16="http://schemas.microsoft.com/office/drawing/2014/main" id="{A802482F-14F8-285A-007E-9BF0EDFDF1CA}"/>
                    </a:ext>
                  </a:extLst>
                </p:cNvPr>
                <p:cNvSpPr>
                  <a:spLocks noEditPoints="1"/>
                </p:cNvSpPr>
                <p:nvPr/>
              </p:nvSpPr>
              <p:spPr bwMode="auto">
                <a:xfrm>
                  <a:off x="3890963"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0"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35" name="Freeform 156">
                  <a:extLst>
                    <a:ext uri="{FF2B5EF4-FFF2-40B4-BE49-F238E27FC236}">
                      <a16:creationId xmlns:a16="http://schemas.microsoft.com/office/drawing/2014/main" id="{83900902-DC16-8BDB-22B4-D6403827BE13}"/>
                    </a:ext>
                  </a:extLst>
                </p:cNvPr>
                <p:cNvSpPr>
                  <a:spLocks/>
                </p:cNvSpPr>
                <p:nvPr/>
              </p:nvSpPr>
              <p:spPr bwMode="auto">
                <a:xfrm>
                  <a:off x="3971925"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6" name="Freeform 157">
                  <a:extLst>
                    <a:ext uri="{FF2B5EF4-FFF2-40B4-BE49-F238E27FC236}">
                      <a16:creationId xmlns:a16="http://schemas.microsoft.com/office/drawing/2014/main" id="{7C84B7EE-40FE-4B0E-4BEE-EF20DACD2E3A}"/>
                    </a:ext>
                  </a:extLst>
                </p:cNvPr>
                <p:cNvSpPr>
                  <a:spLocks noEditPoints="1"/>
                </p:cNvSpPr>
                <p:nvPr/>
              </p:nvSpPr>
              <p:spPr bwMode="auto">
                <a:xfrm>
                  <a:off x="3968750" y="3209926"/>
                  <a:ext cx="73025" cy="73025"/>
                </a:xfrm>
                <a:custGeom>
                  <a:avLst/>
                  <a:gdLst>
                    <a:gd name="T0" fmla="*/ 2147483647 w 1029"/>
                    <a:gd name="T1" fmla="*/ 2147483647 h 1029"/>
                    <a:gd name="T2" fmla="*/ 2147483647 w 1029"/>
                    <a:gd name="T3" fmla="*/ 0 h 1029"/>
                    <a:gd name="T4" fmla="*/ 2147483647 w 1029"/>
                    <a:gd name="T5" fmla="*/ 2147483647 h 1029"/>
                    <a:gd name="T6" fmla="*/ 2147483647 w 1029"/>
                    <a:gd name="T7" fmla="*/ 2147483647 h 1029"/>
                    <a:gd name="T8" fmla="*/ 2147483647 w 1029"/>
                    <a:gd name="T9" fmla="*/ 2147483647 h 1029"/>
                    <a:gd name="T10" fmla="*/ 2147483647 w 1029"/>
                    <a:gd name="T11" fmla="*/ 2147483647 h 1029"/>
                    <a:gd name="T12" fmla="*/ 2147483647 w 1029"/>
                    <a:gd name="T13" fmla="*/ 2147483647 h 1029"/>
                    <a:gd name="T14" fmla="*/ 2147483647 w 1029"/>
                    <a:gd name="T15" fmla="*/ 2147483647 h 1029"/>
                    <a:gd name="T16" fmla="*/ 0 w 1029"/>
                    <a:gd name="T17" fmla="*/ 2147483647 h 1029"/>
                    <a:gd name="T18" fmla="*/ 2147483647 w 1029"/>
                    <a:gd name="T19" fmla="*/ 2147483647 h 1029"/>
                    <a:gd name="T20" fmla="*/ 2147483647 w 1029"/>
                    <a:gd name="T21" fmla="*/ 2147483647 h 1029"/>
                    <a:gd name="T22" fmla="*/ 2147483647 w 1029"/>
                    <a:gd name="T23" fmla="*/ 2147483647 h 1029"/>
                    <a:gd name="T24" fmla="*/ 2147483647 w 1029"/>
                    <a:gd name="T25" fmla="*/ 2147483647 h 1029"/>
                    <a:gd name="T26" fmla="*/ 2147483647 w 1029"/>
                    <a:gd name="T27" fmla="*/ 2147483647 h 1029"/>
                    <a:gd name="T28" fmla="*/ 2147483647 w 1029"/>
                    <a:gd name="T29" fmla="*/ 2147483647 h 1029"/>
                    <a:gd name="T30" fmla="*/ 2147483647 w 1029"/>
                    <a:gd name="T31" fmla="*/ 2147483647 h 1029"/>
                    <a:gd name="T32" fmla="*/ 2147483647 w 1029"/>
                    <a:gd name="T33" fmla="*/ 2147483647 h 1029"/>
                    <a:gd name="T34" fmla="*/ 2147483647 w 1029"/>
                    <a:gd name="T35" fmla="*/ 2147483647 h 1029"/>
                    <a:gd name="T36" fmla="*/ 2147483647 w 1029"/>
                    <a:gd name="T37" fmla="*/ 2147483647 h 1029"/>
                    <a:gd name="T38" fmla="*/ 2147483647 w 1029"/>
                    <a:gd name="T39" fmla="*/ 2147483647 h 10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9" h="1029">
                      <a:moveTo>
                        <a:pt x="481" y="15"/>
                      </a:moveTo>
                      <a:cubicBezTo>
                        <a:pt x="490" y="5"/>
                        <a:pt x="502" y="0"/>
                        <a:pt x="515" y="0"/>
                      </a:cubicBezTo>
                      <a:cubicBezTo>
                        <a:pt x="528" y="0"/>
                        <a:pt x="540" y="6"/>
                        <a:pt x="549" y="15"/>
                      </a:cubicBezTo>
                      <a:lnTo>
                        <a:pt x="1011" y="481"/>
                      </a:lnTo>
                      <a:cubicBezTo>
                        <a:pt x="1029" y="500"/>
                        <a:pt x="1029" y="530"/>
                        <a:pt x="1010" y="549"/>
                      </a:cubicBezTo>
                      <a:lnTo>
                        <a:pt x="549" y="1010"/>
                      </a:lnTo>
                      <a:cubicBezTo>
                        <a:pt x="530" y="1029"/>
                        <a:pt x="500" y="1029"/>
                        <a:pt x="481" y="1011"/>
                      </a:cubicBezTo>
                      <a:lnTo>
                        <a:pt x="15" y="549"/>
                      </a:lnTo>
                      <a:cubicBezTo>
                        <a:pt x="6" y="540"/>
                        <a:pt x="1" y="528"/>
                        <a:pt x="0" y="515"/>
                      </a:cubicBezTo>
                      <a:cubicBezTo>
                        <a:pt x="0" y="502"/>
                        <a:pt x="5" y="490"/>
                        <a:pt x="15" y="481"/>
                      </a:cubicBezTo>
                      <a:lnTo>
                        <a:pt x="481" y="15"/>
                      </a:lnTo>
                      <a:close/>
                      <a:moveTo>
                        <a:pt x="82" y="549"/>
                      </a:moveTo>
                      <a:lnTo>
                        <a:pt x="82" y="481"/>
                      </a:lnTo>
                      <a:lnTo>
                        <a:pt x="549" y="942"/>
                      </a:lnTo>
                      <a:lnTo>
                        <a:pt x="481" y="943"/>
                      </a:lnTo>
                      <a:lnTo>
                        <a:pt x="943" y="481"/>
                      </a:lnTo>
                      <a:lnTo>
                        <a:pt x="942" y="549"/>
                      </a:lnTo>
                      <a:lnTo>
                        <a:pt x="481" y="82"/>
                      </a:lnTo>
                      <a:lnTo>
                        <a:pt x="549" y="82"/>
                      </a:lnTo>
                      <a:lnTo>
                        <a:pt x="82" y="549"/>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37" name="Freeform 158">
                  <a:extLst>
                    <a:ext uri="{FF2B5EF4-FFF2-40B4-BE49-F238E27FC236}">
                      <a16:creationId xmlns:a16="http://schemas.microsoft.com/office/drawing/2014/main" id="{E9CAED51-5053-6053-EE37-A3A17383B798}"/>
                    </a:ext>
                  </a:extLst>
                </p:cNvPr>
                <p:cNvSpPr>
                  <a:spLocks/>
                </p:cNvSpPr>
                <p:nvPr/>
              </p:nvSpPr>
              <p:spPr bwMode="auto">
                <a:xfrm>
                  <a:off x="4049713"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8" name="Freeform 159">
                  <a:extLst>
                    <a:ext uri="{FF2B5EF4-FFF2-40B4-BE49-F238E27FC236}">
                      <a16:creationId xmlns:a16="http://schemas.microsoft.com/office/drawing/2014/main" id="{B025FC9D-089D-7805-65A0-D86D2F78DB56}"/>
                    </a:ext>
                  </a:extLst>
                </p:cNvPr>
                <p:cNvSpPr>
                  <a:spLocks noEditPoints="1"/>
                </p:cNvSpPr>
                <p:nvPr/>
              </p:nvSpPr>
              <p:spPr bwMode="auto">
                <a:xfrm>
                  <a:off x="4046538" y="320992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39" name="Freeform 160">
                  <a:extLst>
                    <a:ext uri="{FF2B5EF4-FFF2-40B4-BE49-F238E27FC236}">
                      <a16:creationId xmlns:a16="http://schemas.microsoft.com/office/drawing/2014/main" id="{EA065994-FF16-F5BF-3705-6299CFD2560B}"/>
                    </a:ext>
                  </a:extLst>
                </p:cNvPr>
                <p:cNvSpPr>
                  <a:spLocks/>
                </p:cNvSpPr>
                <p:nvPr/>
              </p:nvSpPr>
              <p:spPr bwMode="auto">
                <a:xfrm>
                  <a:off x="4129088"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0" name="Freeform 161">
                  <a:extLst>
                    <a:ext uri="{FF2B5EF4-FFF2-40B4-BE49-F238E27FC236}">
                      <a16:creationId xmlns:a16="http://schemas.microsoft.com/office/drawing/2014/main" id="{E51A5C6C-96D2-4103-21DD-A9513A66F429}"/>
                    </a:ext>
                  </a:extLst>
                </p:cNvPr>
                <p:cNvSpPr>
                  <a:spLocks noEditPoints="1"/>
                </p:cNvSpPr>
                <p:nvPr/>
              </p:nvSpPr>
              <p:spPr bwMode="auto">
                <a:xfrm>
                  <a:off x="4125913" y="3209926"/>
                  <a:ext cx="71438"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41" name="Freeform 162">
                  <a:extLst>
                    <a:ext uri="{FF2B5EF4-FFF2-40B4-BE49-F238E27FC236}">
                      <a16:creationId xmlns:a16="http://schemas.microsoft.com/office/drawing/2014/main" id="{8FF1E277-7A34-2446-E14A-52F199BD82DE}"/>
                    </a:ext>
                  </a:extLst>
                </p:cNvPr>
                <p:cNvSpPr>
                  <a:spLocks/>
                </p:cNvSpPr>
                <p:nvPr/>
              </p:nvSpPr>
              <p:spPr bwMode="auto">
                <a:xfrm>
                  <a:off x="4206875"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2" name="Freeform 163">
                  <a:extLst>
                    <a:ext uri="{FF2B5EF4-FFF2-40B4-BE49-F238E27FC236}">
                      <a16:creationId xmlns:a16="http://schemas.microsoft.com/office/drawing/2014/main" id="{8A8C49AF-059B-E0B9-3560-A4151CBC7FBD}"/>
                    </a:ext>
                  </a:extLst>
                </p:cNvPr>
                <p:cNvSpPr>
                  <a:spLocks noEditPoints="1"/>
                </p:cNvSpPr>
                <p:nvPr/>
              </p:nvSpPr>
              <p:spPr bwMode="auto">
                <a:xfrm>
                  <a:off x="4203700" y="320992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43" name="Freeform 164">
                  <a:extLst>
                    <a:ext uri="{FF2B5EF4-FFF2-40B4-BE49-F238E27FC236}">
                      <a16:creationId xmlns:a16="http://schemas.microsoft.com/office/drawing/2014/main" id="{D91E3A1E-FC41-8429-E8F3-13D859D935F8}"/>
                    </a:ext>
                  </a:extLst>
                </p:cNvPr>
                <p:cNvSpPr>
                  <a:spLocks/>
                </p:cNvSpPr>
                <p:nvPr/>
              </p:nvSpPr>
              <p:spPr bwMode="auto">
                <a:xfrm>
                  <a:off x="4284663" y="321310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4" name="Freeform 165">
                  <a:extLst>
                    <a:ext uri="{FF2B5EF4-FFF2-40B4-BE49-F238E27FC236}">
                      <a16:creationId xmlns:a16="http://schemas.microsoft.com/office/drawing/2014/main" id="{7317FC49-1771-01AD-024D-CF8A72A4E449}"/>
                    </a:ext>
                  </a:extLst>
                </p:cNvPr>
                <p:cNvSpPr>
                  <a:spLocks noEditPoints="1"/>
                </p:cNvSpPr>
                <p:nvPr/>
              </p:nvSpPr>
              <p:spPr bwMode="auto">
                <a:xfrm>
                  <a:off x="4281488" y="320992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45" name="Freeform 166">
                  <a:extLst>
                    <a:ext uri="{FF2B5EF4-FFF2-40B4-BE49-F238E27FC236}">
                      <a16:creationId xmlns:a16="http://schemas.microsoft.com/office/drawing/2014/main" id="{B94B5986-6D99-A546-AD84-58D4E4A066EF}"/>
                    </a:ext>
                  </a:extLst>
                </p:cNvPr>
                <p:cNvSpPr>
                  <a:spLocks/>
                </p:cNvSpPr>
                <p:nvPr/>
              </p:nvSpPr>
              <p:spPr bwMode="auto">
                <a:xfrm>
                  <a:off x="4362450" y="321310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6" name="Freeform 167">
                  <a:extLst>
                    <a:ext uri="{FF2B5EF4-FFF2-40B4-BE49-F238E27FC236}">
                      <a16:creationId xmlns:a16="http://schemas.microsoft.com/office/drawing/2014/main" id="{08062F6F-DF2E-E944-9680-653F62D428C2}"/>
                    </a:ext>
                  </a:extLst>
                </p:cNvPr>
                <p:cNvSpPr>
                  <a:spLocks noEditPoints="1"/>
                </p:cNvSpPr>
                <p:nvPr/>
              </p:nvSpPr>
              <p:spPr bwMode="auto">
                <a:xfrm>
                  <a:off x="4359275" y="320992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1047" name="Rectangle 168">
                  <a:extLst>
                    <a:ext uri="{FF2B5EF4-FFF2-40B4-BE49-F238E27FC236}">
                      <a16:creationId xmlns:a16="http://schemas.microsoft.com/office/drawing/2014/main" id="{EB1FD62C-95A7-3899-0FDA-92D36834F5CE}"/>
                    </a:ext>
                  </a:extLst>
                </p:cNvPr>
                <p:cNvSpPr>
                  <a:spLocks noChangeArrowheads="1"/>
                </p:cNvSpPr>
                <p:nvPr/>
              </p:nvSpPr>
              <p:spPr bwMode="auto">
                <a:xfrm>
                  <a:off x="1881188" y="3890963"/>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1048" name="Rectangle 169">
                  <a:extLst>
                    <a:ext uri="{FF2B5EF4-FFF2-40B4-BE49-F238E27FC236}">
                      <a16:creationId xmlns:a16="http://schemas.microsoft.com/office/drawing/2014/main" id="{EFCC8EF7-91E9-243F-0A9A-869FE1392931}"/>
                    </a:ext>
                  </a:extLst>
                </p:cNvPr>
                <p:cNvSpPr>
                  <a:spLocks noChangeArrowheads="1"/>
                </p:cNvSpPr>
                <p:nvPr/>
              </p:nvSpPr>
              <p:spPr bwMode="auto">
                <a:xfrm>
                  <a:off x="1881188" y="3638551"/>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5</a:t>
                  </a:r>
                  <a:endParaRPr lang="en-US" altLang="en-US" dirty="0"/>
                </a:p>
              </p:txBody>
            </p:sp>
            <p:sp>
              <p:nvSpPr>
                <p:cNvPr id="1049" name="Rectangle 170">
                  <a:extLst>
                    <a:ext uri="{FF2B5EF4-FFF2-40B4-BE49-F238E27FC236}">
                      <a16:creationId xmlns:a16="http://schemas.microsoft.com/office/drawing/2014/main" id="{B52FAA2B-825B-B8A5-F771-C8966DAC2587}"/>
                    </a:ext>
                  </a:extLst>
                </p:cNvPr>
                <p:cNvSpPr>
                  <a:spLocks noChangeArrowheads="1"/>
                </p:cNvSpPr>
                <p:nvPr/>
              </p:nvSpPr>
              <p:spPr bwMode="auto">
                <a:xfrm>
                  <a:off x="1833563" y="3386138"/>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1050" name="Rectangle 171">
                  <a:extLst>
                    <a:ext uri="{FF2B5EF4-FFF2-40B4-BE49-F238E27FC236}">
                      <a16:creationId xmlns:a16="http://schemas.microsoft.com/office/drawing/2014/main" id="{3F93B256-C7E7-6B76-9C21-D506B3AAE7FF}"/>
                    </a:ext>
                  </a:extLst>
                </p:cNvPr>
                <p:cNvSpPr>
                  <a:spLocks noChangeArrowheads="1"/>
                </p:cNvSpPr>
                <p:nvPr/>
              </p:nvSpPr>
              <p:spPr bwMode="auto">
                <a:xfrm>
                  <a:off x="1833563" y="3135313"/>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5</a:t>
                  </a:r>
                  <a:endParaRPr lang="en-US" altLang="en-US" dirty="0"/>
                </a:p>
              </p:txBody>
            </p:sp>
            <p:sp>
              <p:nvSpPr>
                <p:cNvPr id="1051" name="Rectangle 172">
                  <a:extLst>
                    <a:ext uri="{FF2B5EF4-FFF2-40B4-BE49-F238E27FC236}">
                      <a16:creationId xmlns:a16="http://schemas.microsoft.com/office/drawing/2014/main" id="{E3558330-ABE6-C911-D4CD-4F8463A0C0E2}"/>
                    </a:ext>
                  </a:extLst>
                </p:cNvPr>
                <p:cNvSpPr>
                  <a:spLocks noChangeArrowheads="1"/>
                </p:cNvSpPr>
                <p:nvPr/>
              </p:nvSpPr>
              <p:spPr bwMode="auto">
                <a:xfrm>
                  <a:off x="2032000" y="401320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1052" name="Rectangle 173">
                  <a:extLst>
                    <a:ext uri="{FF2B5EF4-FFF2-40B4-BE49-F238E27FC236}">
                      <a16:creationId xmlns:a16="http://schemas.microsoft.com/office/drawing/2014/main" id="{AA8A671F-C1C2-CAFA-9899-595291479C3D}"/>
                    </a:ext>
                  </a:extLst>
                </p:cNvPr>
                <p:cNvSpPr>
                  <a:spLocks noChangeArrowheads="1"/>
                </p:cNvSpPr>
                <p:nvPr/>
              </p:nvSpPr>
              <p:spPr bwMode="auto">
                <a:xfrm>
                  <a:off x="2187575" y="401320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1053" name="Rectangle 174">
                  <a:extLst>
                    <a:ext uri="{FF2B5EF4-FFF2-40B4-BE49-F238E27FC236}">
                      <a16:creationId xmlns:a16="http://schemas.microsoft.com/office/drawing/2014/main" id="{3B5D1C2D-FB2E-7714-C3EC-146BAB6D9CB1}"/>
                    </a:ext>
                  </a:extLst>
                </p:cNvPr>
                <p:cNvSpPr>
                  <a:spLocks noChangeArrowheads="1"/>
                </p:cNvSpPr>
                <p:nvPr/>
              </p:nvSpPr>
              <p:spPr bwMode="auto">
                <a:xfrm>
                  <a:off x="2343150" y="4013201"/>
                  <a:ext cx="1063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1054" name="Rectangle 175">
                  <a:extLst>
                    <a:ext uri="{FF2B5EF4-FFF2-40B4-BE49-F238E27FC236}">
                      <a16:creationId xmlns:a16="http://schemas.microsoft.com/office/drawing/2014/main" id="{C936D9BC-52AB-473F-6B58-64FB421D341B}"/>
                    </a:ext>
                  </a:extLst>
                </p:cNvPr>
                <p:cNvSpPr>
                  <a:spLocks noChangeArrowheads="1"/>
                </p:cNvSpPr>
                <p:nvPr/>
              </p:nvSpPr>
              <p:spPr bwMode="auto">
                <a:xfrm>
                  <a:off x="2500313" y="401320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1055" name="Rectangle 176">
                  <a:extLst>
                    <a:ext uri="{FF2B5EF4-FFF2-40B4-BE49-F238E27FC236}">
                      <a16:creationId xmlns:a16="http://schemas.microsoft.com/office/drawing/2014/main" id="{EEFCC971-F54B-3271-155F-BC764E2DA1DA}"/>
                    </a:ext>
                  </a:extLst>
                </p:cNvPr>
                <p:cNvSpPr>
                  <a:spLocks noChangeArrowheads="1"/>
                </p:cNvSpPr>
                <p:nvPr/>
              </p:nvSpPr>
              <p:spPr bwMode="auto">
                <a:xfrm>
                  <a:off x="2655888" y="4013201"/>
                  <a:ext cx="104775"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1056" name="Rectangle 177">
                  <a:extLst>
                    <a:ext uri="{FF2B5EF4-FFF2-40B4-BE49-F238E27FC236}">
                      <a16:creationId xmlns:a16="http://schemas.microsoft.com/office/drawing/2014/main" id="{9BAC982D-9385-4C2C-7285-5824C29ED677}"/>
                    </a:ext>
                  </a:extLst>
                </p:cNvPr>
                <p:cNvSpPr>
                  <a:spLocks noChangeArrowheads="1"/>
                </p:cNvSpPr>
                <p:nvPr/>
              </p:nvSpPr>
              <p:spPr bwMode="auto">
                <a:xfrm>
                  <a:off x="2787650"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1057" name="Rectangle 178">
                  <a:extLst>
                    <a:ext uri="{FF2B5EF4-FFF2-40B4-BE49-F238E27FC236}">
                      <a16:creationId xmlns:a16="http://schemas.microsoft.com/office/drawing/2014/main" id="{F2A2616A-467D-B502-5488-B9D05FFCA5C1}"/>
                    </a:ext>
                  </a:extLst>
                </p:cNvPr>
                <p:cNvSpPr>
                  <a:spLocks noChangeArrowheads="1"/>
                </p:cNvSpPr>
                <p:nvPr/>
              </p:nvSpPr>
              <p:spPr bwMode="auto">
                <a:xfrm>
                  <a:off x="2944813"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1058" name="Rectangle 179">
                  <a:extLst>
                    <a:ext uri="{FF2B5EF4-FFF2-40B4-BE49-F238E27FC236}">
                      <a16:creationId xmlns:a16="http://schemas.microsoft.com/office/drawing/2014/main" id="{DD357644-490E-5891-0DDB-43ED802B9742}"/>
                    </a:ext>
                  </a:extLst>
                </p:cNvPr>
                <p:cNvSpPr>
                  <a:spLocks noChangeArrowheads="1"/>
                </p:cNvSpPr>
                <p:nvPr/>
              </p:nvSpPr>
              <p:spPr bwMode="auto">
                <a:xfrm>
                  <a:off x="3100388"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1059" name="Rectangle 180">
                  <a:extLst>
                    <a:ext uri="{FF2B5EF4-FFF2-40B4-BE49-F238E27FC236}">
                      <a16:creationId xmlns:a16="http://schemas.microsoft.com/office/drawing/2014/main" id="{BD67106F-D909-00BE-A79A-9D29296D4815}"/>
                    </a:ext>
                  </a:extLst>
                </p:cNvPr>
                <p:cNvSpPr>
                  <a:spLocks noChangeArrowheads="1"/>
                </p:cNvSpPr>
                <p:nvPr/>
              </p:nvSpPr>
              <p:spPr bwMode="auto">
                <a:xfrm>
                  <a:off x="3255963"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1060" name="Rectangle 181">
                  <a:extLst>
                    <a:ext uri="{FF2B5EF4-FFF2-40B4-BE49-F238E27FC236}">
                      <a16:creationId xmlns:a16="http://schemas.microsoft.com/office/drawing/2014/main" id="{1A9828F2-E1CA-B686-6AA1-A03E19E3DF90}"/>
                    </a:ext>
                  </a:extLst>
                </p:cNvPr>
                <p:cNvSpPr>
                  <a:spLocks noChangeArrowheads="1"/>
                </p:cNvSpPr>
                <p:nvPr/>
              </p:nvSpPr>
              <p:spPr bwMode="auto">
                <a:xfrm>
                  <a:off x="3413125" y="4013201"/>
                  <a:ext cx="1571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1061" name="Rectangle 182">
                  <a:extLst>
                    <a:ext uri="{FF2B5EF4-FFF2-40B4-BE49-F238E27FC236}">
                      <a16:creationId xmlns:a16="http://schemas.microsoft.com/office/drawing/2014/main" id="{69DB3517-EF65-0D5C-C908-67F986035379}"/>
                    </a:ext>
                  </a:extLst>
                </p:cNvPr>
                <p:cNvSpPr>
                  <a:spLocks noChangeArrowheads="1"/>
                </p:cNvSpPr>
                <p:nvPr/>
              </p:nvSpPr>
              <p:spPr bwMode="auto">
                <a:xfrm>
                  <a:off x="3568700"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1062" name="Rectangle 183">
                  <a:extLst>
                    <a:ext uri="{FF2B5EF4-FFF2-40B4-BE49-F238E27FC236}">
                      <a16:creationId xmlns:a16="http://schemas.microsoft.com/office/drawing/2014/main" id="{50C2E9E0-EFE4-10C7-5DE1-C201F4B3675C}"/>
                    </a:ext>
                  </a:extLst>
                </p:cNvPr>
                <p:cNvSpPr>
                  <a:spLocks noChangeArrowheads="1"/>
                </p:cNvSpPr>
                <p:nvPr/>
              </p:nvSpPr>
              <p:spPr bwMode="auto">
                <a:xfrm>
                  <a:off x="3724275"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1063" name="Rectangle 184">
                  <a:extLst>
                    <a:ext uri="{FF2B5EF4-FFF2-40B4-BE49-F238E27FC236}">
                      <a16:creationId xmlns:a16="http://schemas.microsoft.com/office/drawing/2014/main" id="{34F2669C-C3B3-E56C-B61D-351D42DE4A93}"/>
                    </a:ext>
                  </a:extLst>
                </p:cNvPr>
                <p:cNvSpPr>
                  <a:spLocks noChangeArrowheads="1"/>
                </p:cNvSpPr>
                <p:nvPr/>
              </p:nvSpPr>
              <p:spPr bwMode="auto">
                <a:xfrm>
                  <a:off x="3881438" y="4013201"/>
                  <a:ext cx="157163"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1064" name="Rectangle 185">
                  <a:extLst>
                    <a:ext uri="{FF2B5EF4-FFF2-40B4-BE49-F238E27FC236}">
                      <a16:creationId xmlns:a16="http://schemas.microsoft.com/office/drawing/2014/main" id="{446D41E8-3B1E-C237-A62D-7437DA5141CC}"/>
                    </a:ext>
                  </a:extLst>
                </p:cNvPr>
                <p:cNvSpPr>
                  <a:spLocks noChangeArrowheads="1"/>
                </p:cNvSpPr>
                <p:nvPr/>
              </p:nvSpPr>
              <p:spPr bwMode="auto">
                <a:xfrm>
                  <a:off x="4037013"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1065" name="Rectangle 186">
                  <a:extLst>
                    <a:ext uri="{FF2B5EF4-FFF2-40B4-BE49-F238E27FC236}">
                      <a16:creationId xmlns:a16="http://schemas.microsoft.com/office/drawing/2014/main" id="{34B313BB-466E-1399-9E2F-ED5FB8ED8661}"/>
                    </a:ext>
                  </a:extLst>
                </p:cNvPr>
                <p:cNvSpPr>
                  <a:spLocks noChangeArrowheads="1"/>
                </p:cNvSpPr>
                <p:nvPr/>
              </p:nvSpPr>
              <p:spPr bwMode="auto">
                <a:xfrm>
                  <a:off x="4192588"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1066" name="Rectangle 187">
                  <a:extLst>
                    <a:ext uri="{FF2B5EF4-FFF2-40B4-BE49-F238E27FC236}">
                      <a16:creationId xmlns:a16="http://schemas.microsoft.com/office/drawing/2014/main" id="{83D765B5-B4EE-C5DF-635B-5D97F8A01AC6}"/>
                    </a:ext>
                  </a:extLst>
                </p:cNvPr>
                <p:cNvSpPr>
                  <a:spLocks noChangeArrowheads="1"/>
                </p:cNvSpPr>
                <p:nvPr/>
              </p:nvSpPr>
              <p:spPr bwMode="auto">
                <a:xfrm>
                  <a:off x="4348163" y="4013201"/>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1067" name="Rectangle 188">
                  <a:extLst>
                    <a:ext uri="{FF2B5EF4-FFF2-40B4-BE49-F238E27FC236}">
                      <a16:creationId xmlns:a16="http://schemas.microsoft.com/office/drawing/2014/main" id="{7CC848F0-5EC3-D8DD-76D6-93BCA98343BF}"/>
                    </a:ext>
                  </a:extLst>
                </p:cNvPr>
                <p:cNvSpPr>
                  <a:spLocks noChangeArrowheads="1"/>
                </p:cNvSpPr>
                <p:nvPr/>
              </p:nvSpPr>
              <p:spPr bwMode="auto">
                <a:xfrm>
                  <a:off x="2481263" y="2871788"/>
                  <a:ext cx="1516063"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Diminishing Return</a:t>
                  </a:r>
                  <a:endParaRPr lang="en-US" altLang="en-US" dirty="0"/>
                </a:p>
              </p:txBody>
            </p:sp>
            <p:sp>
              <p:nvSpPr>
                <p:cNvPr id="1068" name="Freeform 189">
                  <a:extLst>
                    <a:ext uri="{FF2B5EF4-FFF2-40B4-BE49-F238E27FC236}">
                      <a16:creationId xmlns:a16="http://schemas.microsoft.com/office/drawing/2014/main" id="{740179E6-B0BE-88E8-3B23-D62329FA0B4F}"/>
                    </a:ext>
                  </a:extLst>
                </p:cNvPr>
                <p:cNvSpPr>
                  <a:spLocks noEditPoints="1"/>
                </p:cNvSpPr>
                <p:nvPr/>
              </p:nvSpPr>
              <p:spPr bwMode="auto">
                <a:xfrm>
                  <a:off x="1768475" y="2797176"/>
                  <a:ext cx="2779713" cy="1395413"/>
                </a:xfrm>
                <a:custGeom>
                  <a:avLst/>
                  <a:gdLst>
                    <a:gd name="T0" fmla="*/ 0 w 19640"/>
                    <a:gd name="T1" fmla="*/ 2147483647 h 9872"/>
                    <a:gd name="T2" fmla="*/ 2147483647 w 19640"/>
                    <a:gd name="T3" fmla="*/ 0 h 9872"/>
                    <a:gd name="T4" fmla="*/ 2147483647 w 19640"/>
                    <a:gd name="T5" fmla="*/ 0 h 9872"/>
                    <a:gd name="T6" fmla="*/ 2147483647 w 19640"/>
                    <a:gd name="T7" fmla="*/ 2147483647 h 9872"/>
                    <a:gd name="T8" fmla="*/ 2147483647 w 19640"/>
                    <a:gd name="T9" fmla="*/ 2147483647 h 9872"/>
                    <a:gd name="T10" fmla="*/ 2147483647 w 19640"/>
                    <a:gd name="T11" fmla="*/ 2147483647 h 9872"/>
                    <a:gd name="T12" fmla="*/ 2147483647 w 19640"/>
                    <a:gd name="T13" fmla="*/ 2147483647 h 9872"/>
                    <a:gd name="T14" fmla="*/ 0 w 19640"/>
                    <a:gd name="T15" fmla="*/ 2147483647 h 9872"/>
                    <a:gd name="T16" fmla="*/ 0 w 19640"/>
                    <a:gd name="T17" fmla="*/ 2147483647 h 9872"/>
                    <a:gd name="T18" fmla="*/ 2147483647 w 19640"/>
                    <a:gd name="T19" fmla="*/ 2147483647 h 9872"/>
                    <a:gd name="T20" fmla="*/ 2147483647 w 19640"/>
                    <a:gd name="T21" fmla="*/ 2147483647 h 9872"/>
                    <a:gd name="T22" fmla="*/ 2147483647 w 19640"/>
                    <a:gd name="T23" fmla="*/ 2147483647 h 9872"/>
                    <a:gd name="T24" fmla="*/ 2147483647 w 19640"/>
                    <a:gd name="T25" fmla="*/ 2147483647 h 9872"/>
                    <a:gd name="T26" fmla="*/ 2147483647 w 19640"/>
                    <a:gd name="T27" fmla="*/ 2147483647 h 9872"/>
                    <a:gd name="T28" fmla="*/ 2147483647 w 19640"/>
                    <a:gd name="T29" fmla="*/ 2147483647 h 9872"/>
                    <a:gd name="T30" fmla="*/ 2147483647 w 19640"/>
                    <a:gd name="T31" fmla="*/ 2147483647 h 9872"/>
                    <a:gd name="T32" fmla="*/ 2147483647 w 19640"/>
                    <a:gd name="T33" fmla="*/ 2147483647 h 9872"/>
                    <a:gd name="T34" fmla="*/ 2147483647 w 19640"/>
                    <a:gd name="T35" fmla="*/ 2147483647 h 98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640" h="9872">
                      <a:moveTo>
                        <a:pt x="0" y="24"/>
                      </a:moveTo>
                      <a:cubicBezTo>
                        <a:pt x="0" y="11"/>
                        <a:pt x="11" y="0"/>
                        <a:pt x="24" y="0"/>
                      </a:cubicBezTo>
                      <a:lnTo>
                        <a:pt x="19616" y="0"/>
                      </a:lnTo>
                      <a:cubicBezTo>
                        <a:pt x="19630" y="0"/>
                        <a:pt x="19640" y="11"/>
                        <a:pt x="19640" y="24"/>
                      </a:cubicBezTo>
                      <a:lnTo>
                        <a:pt x="19640" y="9848"/>
                      </a:lnTo>
                      <a:cubicBezTo>
                        <a:pt x="19640" y="9862"/>
                        <a:pt x="19630" y="9872"/>
                        <a:pt x="19616" y="9872"/>
                      </a:cubicBezTo>
                      <a:lnTo>
                        <a:pt x="24" y="9872"/>
                      </a:lnTo>
                      <a:cubicBezTo>
                        <a:pt x="11" y="9872"/>
                        <a:pt x="0" y="9862"/>
                        <a:pt x="0" y="9848"/>
                      </a:cubicBezTo>
                      <a:lnTo>
                        <a:pt x="0" y="24"/>
                      </a:lnTo>
                      <a:close/>
                      <a:moveTo>
                        <a:pt x="48" y="9848"/>
                      </a:moveTo>
                      <a:lnTo>
                        <a:pt x="24" y="9824"/>
                      </a:lnTo>
                      <a:lnTo>
                        <a:pt x="19616" y="9824"/>
                      </a:lnTo>
                      <a:lnTo>
                        <a:pt x="19592" y="9848"/>
                      </a:lnTo>
                      <a:lnTo>
                        <a:pt x="19592" y="24"/>
                      </a:lnTo>
                      <a:lnTo>
                        <a:pt x="19616" y="48"/>
                      </a:lnTo>
                      <a:lnTo>
                        <a:pt x="24" y="48"/>
                      </a:lnTo>
                      <a:lnTo>
                        <a:pt x="48" y="24"/>
                      </a:lnTo>
                      <a:lnTo>
                        <a:pt x="48" y="9848"/>
                      </a:lnTo>
                      <a:close/>
                    </a:path>
                  </a:pathLst>
                </a:custGeom>
                <a:solidFill>
                  <a:schemeClr val="tx1"/>
                </a:solidFill>
                <a:ln w="57150" cap="flat">
                  <a:noFill/>
                  <a:prstDash val="solid"/>
                  <a:round/>
                  <a:headEnd/>
                  <a:tailEnd/>
                </a:ln>
              </p:spPr>
              <p:txBody>
                <a:bodyPr/>
                <a:lstStyle/>
                <a:p>
                  <a:endParaRPr lang="en-US" dirty="0"/>
                </a:p>
              </p:txBody>
            </p:sp>
          </p:grpSp>
          <p:sp>
            <p:nvSpPr>
              <p:cNvPr id="604" name="Rectangle 190">
                <a:extLst>
                  <a:ext uri="{FF2B5EF4-FFF2-40B4-BE49-F238E27FC236}">
                    <a16:creationId xmlns:a16="http://schemas.microsoft.com/office/drawing/2014/main" id="{6FBF13CA-E4FE-0EA0-1428-33C3373BA35A}"/>
                  </a:ext>
                </a:extLst>
              </p:cNvPr>
              <p:cNvSpPr>
                <a:spLocks noChangeArrowheads="1"/>
              </p:cNvSpPr>
              <p:nvPr/>
            </p:nvSpPr>
            <p:spPr bwMode="auto">
              <a:xfrm>
                <a:off x="2416193" y="4322781"/>
                <a:ext cx="2768600" cy="1387475"/>
              </a:xfrm>
              <a:prstGeom prst="rect">
                <a:avLst/>
              </a:prstGeom>
              <a:solidFill>
                <a:srgbClr val="FFFFFF"/>
              </a:solidFill>
              <a:ln w="9525">
                <a:solidFill>
                  <a:srgbClr val="000000"/>
                </a:solid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05" name="Rectangle 191">
                <a:extLst>
                  <a:ext uri="{FF2B5EF4-FFF2-40B4-BE49-F238E27FC236}">
                    <a16:creationId xmlns:a16="http://schemas.microsoft.com/office/drawing/2014/main" id="{A88731A7-032D-116D-DACD-AF62040CA957}"/>
                  </a:ext>
                </a:extLst>
              </p:cNvPr>
              <p:cNvSpPr>
                <a:spLocks noChangeArrowheads="1"/>
              </p:cNvSpPr>
              <p:nvPr/>
            </p:nvSpPr>
            <p:spPr bwMode="auto">
              <a:xfrm>
                <a:off x="2660668" y="4719656"/>
                <a:ext cx="2416175" cy="7540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06" name="Freeform 192">
                <a:extLst>
                  <a:ext uri="{FF2B5EF4-FFF2-40B4-BE49-F238E27FC236}">
                    <a16:creationId xmlns:a16="http://schemas.microsoft.com/office/drawing/2014/main" id="{1F4C365B-25FE-15A6-82B5-541193EAAAA4}"/>
                  </a:ext>
                </a:extLst>
              </p:cNvPr>
              <p:cNvSpPr>
                <a:spLocks noEditPoints="1"/>
              </p:cNvSpPr>
              <p:nvPr/>
            </p:nvSpPr>
            <p:spPr bwMode="auto">
              <a:xfrm>
                <a:off x="2660668" y="4716481"/>
                <a:ext cx="2416175" cy="509587"/>
              </a:xfrm>
              <a:custGeom>
                <a:avLst/>
                <a:gdLst>
                  <a:gd name="T0" fmla="*/ 0 w 1522"/>
                  <a:gd name="T1" fmla="*/ 2147483647 h 321"/>
                  <a:gd name="T2" fmla="*/ 2147483647 w 1522"/>
                  <a:gd name="T3" fmla="*/ 2147483647 h 321"/>
                  <a:gd name="T4" fmla="*/ 2147483647 w 1522"/>
                  <a:gd name="T5" fmla="*/ 2147483647 h 321"/>
                  <a:gd name="T6" fmla="*/ 0 w 1522"/>
                  <a:gd name="T7" fmla="*/ 2147483647 h 321"/>
                  <a:gd name="T8" fmla="*/ 0 w 1522"/>
                  <a:gd name="T9" fmla="*/ 2147483647 h 321"/>
                  <a:gd name="T10" fmla="*/ 0 w 1522"/>
                  <a:gd name="T11" fmla="*/ 2147483647 h 321"/>
                  <a:gd name="T12" fmla="*/ 2147483647 w 1522"/>
                  <a:gd name="T13" fmla="*/ 2147483647 h 321"/>
                  <a:gd name="T14" fmla="*/ 2147483647 w 1522"/>
                  <a:gd name="T15" fmla="*/ 2147483647 h 321"/>
                  <a:gd name="T16" fmla="*/ 0 w 1522"/>
                  <a:gd name="T17" fmla="*/ 2147483647 h 321"/>
                  <a:gd name="T18" fmla="*/ 0 w 1522"/>
                  <a:gd name="T19" fmla="*/ 2147483647 h 321"/>
                  <a:gd name="T20" fmla="*/ 0 w 1522"/>
                  <a:gd name="T21" fmla="*/ 0 h 321"/>
                  <a:gd name="T22" fmla="*/ 2147483647 w 1522"/>
                  <a:gd name="T23" fmla="*/ 0 h 321"/>
                  <a:gd name="T24" fmla="*/ 2147483647 w 1522"/>
                  <a:gd name="T25" fmla="*/ 2147483647 h 321"/>
                  <a:gd name="T26" fmla="*/ 0 w 1522"/>
                  <a:gd name="T27" fmla="*/ 2147483647 h 321"/>
                  <a:gd name="T28" fmla="*/ 0 w 1522"/>
                  <a:gd name="T29" fmla="*/ 0 h 3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22" h="321">
                    <a:moveTo>
                      <a:pt x="0" y="317"/>
                    </a:moveTo>
                    <a:lnTo>
                      <a:pt x="1522" y="317"/>
                    </a:lnTo>
                    <a:lnTo>
                      <a:pt x="1522" y="321"/>
                    </a:lnTo>
                    <a:lnTo>
                      <a:pt x="0" y="321"/>
                    </a:lnTo>
                    <a:lnTo>
                      <a:pt x="0" y="317"/>
                    </a:lnTo>
                    <a:close/>
                    <a:moveTo>
                      <a:pt x="0" y="158"/>
                    </a:moveTo>
                    <a:lnTo>
                      <a:pt x="1522" y="158"/>
                    </a:lnTo>
                    <a:lnTo>
                      <a:pt x="1522" y="163"/>
                    </a:lnTo>
                    <a:lnTo>
                      <a:pt x="0" y="163"/>
                    </a:lnTo>
                    <a:lnTo>
                      <a:pt x="0" y="158"/>
                    </a:lnTo>
                    <a:close/>
                    <a:moveTo>
                      <a:pt x="0" y="0"/>
                    </a:moveTo>
                    <a:lnTo>
                      <a:pt x="1522" y="0"/>
                    </a:lnTo>
                    <a:lnTo>
                      <a:pt x="1522" y="4"/>
                    </a:lnTo>
                    <a:lnTo>
                      <a:pt x="0" y="4"/>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607" name="Rectangle 193">
                <a:extLst>
                  <a:ext uri="{FF2B5EF4-FFF2-40B4-BE49-F238E27FC236}">
                    <a16:creationId xmlns:a16="http://schemas.microsoft.com/office/drawing/2014/main" id="{2EE2E5EE-C061-E7C0-8972-2D948ACB9729}"/>
                  </a:ext>
                </a:extLst>
              </p:cNvPr>
              <p:cNvSpPr>
                <a:spLocks noChangeArrowheads="1"/>
              </p:cNvSpPr>
              <p:nvPr/>
            </p:nvSpPr>
            <p:spPr bwMode="auto">
              <a:xfrm>
                <a:off x="2657493" y="4719656"/>
                <a:ext cx="6350" cy="754062"/>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08" name="Freeform 194">
                <a:extLst>
                  <a:ext uri="{FF2B5EF4-FFF2-40B4-BE49-F238E27FC236}">
                    <a16:creationId xmlns:a16="http://schemas.microsoft.com/office/drawing/2014/main" id="{05C23E13-856C-0A1B-6F6C-0688FCCCC5C9}"/>
                  </a:ext>
                </a:extLst>
              </p:cNvPr>
              <p:cNvSpPr>
                <a:spLocks noEditPoints="1"/>
              </p:cNvSpPr>
              <p:nvPr/>
            </p:nvSpPr>
            <p:spPr bwMode="auto">
              <a:xfrm>
                <a:off x="2632093" y="4716481"/>
                <a:ext cx="28575" cy="762000"/>
              </a:xfrm>
              <a:custGeom>
                <a:avLst/>
                <a:gdLst>
                  <a:gd name="T0" fmla="*/ 0 w 18"/>
                  <a:gd name="T1" fmla="*/ 2147483647 h 480"/>
                  <a:gd name="T2" fmla="*/ 2147483647 w 18"/>
                  <a:gd name="T3" fmla="*/ 2147483647 h 480"/>
                  <a:gd name="T4" fmla="*/ 2147483647 w 18"/>
                  <a:gd name="T5" fmla="*/ 2147483647 h 480"/>
                  <a:gd name="T6" fmla="*/ 0 w 18"/>
                  <a:gd name="T7" fmla="*/ 2147483647 h 480"/>
                  <a:gd name="T8" fmla="*/ 0 w 18"/>
                  <a:gd name="T9" fmla="*/ 2147483647 h 480"/>
                  <a:gd name="T10" fmla="*/ 0 w 18"/>
                  <a:gd name="T11" fmla="*/ 2147483647 h 480"/>
                  <a:gd name="T12" fmla="*/ 2147483647 w 18"/>
                  <a:gd name="T13" fmla="*/ 2147483647 h 480"/>
                  <a:gd name="T14" fmla="*/ 2147483647 w 18"/>
                  <a:gd name="T15" fmla="*/ 2147483647 h 480"/>
                  <a:gd name="T16" fmla="*/ 0 w 18"/>
                  <a:gd name="T17" fmla="*/ 2147483647 h 480"/>
                  <a:gd name="T18" fmla="*/ 0 w 18"/>
                  <a:gd name="T19" fmla="*/ 2147483647 h 480"/>
                  <a:gd name="T20" fmla="*/ 0 w 18"/>
                  <a:gd name="T21" fmla="*/ 2147483647 h 480"/>
                  <a:gd name="T22" fmla="*/ 2147483647 w 18"/>
                  <a:gd name="T23" fmla="*/ 2147483647 h 480"/>
                  <a:gd name="T24" fmla="*/ 2147483647 w 18"/>
                  <a:gd name="T25" fmla="*/ 2147483647 h 480"/>
                  <a:gd name="T26" fmla="*/ 0 w 18"/>
                  <a:gd name="T27" fmla="*/ 2147483647 h 480"/>
                  <a:gd name="T28" fmla="*/ 0 w 18"/>
                  <a:gd name="T29" fmla="*/ 2147483647 h 480"/>
                  <a:gd name="T30" fmla="*/ 0 w 18"/>
                  <a:gd name="T31" fmla="*/ 0 h 480"/>
                  <a:gd name="T32" fmla="*/ 2147483647 w 18"/>
                  <a:gd name="T33" fmla="*/ 0 h 480"/>
                  <a:gd name="T34" fmla="*/ 2147483647 w 18"/>
                  <a:gd name="T35" fmla="*/ 2147483647 h 480"/>
                  <a:gd name="T36" fmla="*/ 0 w 18"/>
                  <a:gd name="T37" fmla="*/ 2147483647 h 480"/>
                  <a:gd name="T38" fmla="*/ 0 w 18"/>
                  <a:gd name="T39" fmla="*/ 0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 h="480">
                    <a:moveTo>
                      <a:pt x="0" y="475"/>
                    </a:moveTo>
                    <a:lnTo>
                      <a:pt x="18" y="475"/>
                    </a:lnTo>
                    <a:lnTo>
                      <a:pt x="18" y="480"/>
                    </a:lnTo>
                    <a:lnTo>
                      <a:pt x="0" y="480"/>
                    </a:lnTo>
                    <a:lnTo>
                      <a:pt x="0" y="475"/>
                    </a:lnTo>
                    <a:close/>
                    <a:moveTo>
                      <a:pt x="0" y="317"/>
                    </a:moveTo>
                    <a:lnTo>
                      <a:pt x="18" y="317"/>
                    </a:lnTo>
                    <a:lnTo>
                      <a:pt x="18" y="321"/>
                    </a:lnTo>
                    <a:lnTo>
                      <a:pt x="0" y="321"/>
                    </a:lnTo>
                    <a:lnTo>
                      <a:pt x="0" y="317"/>
                    </a:lnTo>
                    <a:close/>
                    <a:moveTo>
                      <a:pt x="0" y="158"/>
                    </a:moveTo>
                    <a:lnTo>
                      <a:pt x="18" y="158"/>
                    </a:lnTo>
                    <a:lnTo>
                      <a:pt x="18" y="163"/>
                    </a:lnTo>
                    <a:lnTo>
                      <a:pt x="0" y="163"/>
                    </a:lnTo>
                    <a:lnTo>
                      <a:pt x="0" y="158"/>
                    </a:lnTo>
                    <a:close/>
                    <a:moveTo>
                      <a:pt x="0" y="0"/>
                    </a:moveTo>
                    <a:lnTo>
                      <a:pt x="18" y="0"/>
                    </a:lnTo>
                    <a:lnTo>
                      <a:pt x="18" y="4"/>
                    </a:lnTo>
                    <a:lnTo>
                      <a:pt x="0" y="4"/>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609" name="Rectangle 195">
                <a:extLst>
                  <a:ext uri="{FF2B5EF4-FFF2-40B4-BE49-F238E27FC236}">
                    <a16:creationId xmlns:a16="http://schemas.microsoft.com/office/drawing/2014/main" id="{2776169E-38AB-B43B-99B6-FAD7CD84B747}"/>
                  </a:ext>
                </a:extLst>
              </p:cNvPr>
              <p:cNvSpPr>
                <a:spLocks noChangeArrowheads="1"/>
              </p:cNvSpPr>
              <p:nvPr/>
            </p:nvSpPr>
            <p:spPr bwMode="auto">
              <a:xfrm>
                <a:off x="2660668" y="5470543"/>
                <a:ext cx="2416175" cy="7938"/>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10" name="Freeform 196">
                <a:extLst>
                  <a:ext uri="{FF2B5EF4-FFF2-40B4-BE49-F238E27FC236}">
                    <a16:creationId xmlns:a16="http://schemas.microsoft.com/office/drawing/2014/main" id="{67B03EB7-FDD4-76AB-51F1-19B9F4957BE1}"/>
                  </a:ext>
                </a:extLst>
              </p:cNvPr>
              <p:cNvSpPr>
                <a:spLocks noEditPoints="1"/>
              </p:cNvSpPr>
              <p:nvPr/>
            </p:nvSpPr>
            <p:spPr bwMode="auto">
              <a:xfrm>
                <a:off x="2657493" y="5473718"/>
                <a:ext cx="2422525" cy="31750"/>
              </a:xfrm>
              <a:custGeom>
                <a:avLst/>
                <a:gdLst>
                  <a:gd name="T0" fmla="*/ 0 w 1526"/>
                  <a:gd name="T1" fmla="*/ 2147483647 h 20"/>
                  <a:gd name="T2" fmla="*/ 2147483647 w 1526"/>
                  <a:gd name="T3" fmla="*/ 0 h 20"/>
                  <a:gd name="T4" fmla="*/ 2147483647 w 1526"/>
                  <a:gd name="T5" fmla="*/ 0 h 20"/>
                  <a:gd name="T6" fmla="*/ 2147483647 w 1526"/>
                  <a:gd name="T7" fmla="*/ 2147483647 h 20"/>
                  <a:gd name="T8" fmla="*/ 2147483647 w 1526"/>
                  <a:gd name="T9" fmla="*/ 0 h 20"/>
                  <a:gd name="T10" fmla="*/ 2147483647 w 1526"/>
                  <a:gd name="T11" fmla="*/ 2147483647 h 20"/>
                  <a:gd name="T12" fmla="*/ 2147483647 w 1526"/>
                  <a:gd name="T13" fmla="*/ 0 h 20"/>
                  <a:gd name="T14" fmla="*/ 2147483647 w 1526"/>
                  <a:gd name="T15" fmla="*/ 0 h 20"/>
                  <a:gd name="T16" fmla="*/ 2147483647 w 1526"/>
                  <a:gd name="T17" fmla="*/ 2147483647 h 20"/>
                  <a:gd name="T18" fmla="*/ 2147483647 w 1526"/>
                  <a:gd name="T19" fmla="*/ 0 h 20"/>
                  <a:gd name="T20" fmla="*/ 2147483647 w 1526"/>
                  <a:gd name="T21" fmla="*/ 2147483647 h 20"/>
                  <a:gd name="T22" fmla="*/ 2147483647 w 1526"/>
                  <a:gd name="T23" fmla="*/ 0 h 20"/>
                  <a:gd name="T24" fmla="*/ 2147483647 w 1526"/>
                  <a:gd name="T25" fmla="*/ 0 h 20"/>
                  <a:gd name="T26" fmla="*/ 2147483647 w 1526"/>
                  <a:gd name="T27" fmla="*/ 2147483647 h 20"/>
                  <a:gd name="T28" fmla="*/ 2147483647 w 1526"/>
                  <a:gd name="T29" fmla="*/ 0 h 20"/>
                  <a:gd name="T30" fmla="*/ 2147483647 w 1526"/>
                  <a:gd name="T31" fmla="*/ 2147483647 h 20"/>
                  <a:gd name="T32" fmla="*/ 2147483647 w 1526"/>
                  <a:gd name="T33" fmla="*/ 0 h 20"/>
                  <a:gd name="T34" fmla="*/ 2147483647 w 1526"/>
                  <a:gd name="T35" fmla="*/ 0 h 20"/>
                  <a:gd name="T36" fmla="*/ 2147483647 w 1526"/>
                  <a:gd name="T37" fmla="*/ 2147483647 h 20"/>
                  <a:gd name="T38" fmla="*/ 2147483647 w 1526"/>
                  <a:gd name="T39" fmla="*/ 0 h 20"/>
                  <a:gd name="T40" fmla="*/ 2147483647 w 1526"/>
                  <a:gd name="T41" fmla="*/ 2147483647 h 20"/>
                  <a:gd name="T42" fmla="*/ 2147483647 w 1526"/>
                  <a:gd name="T43" fmla="*/ 0 h 20"/>
                  <a:gd name="T44" fmla="*/ 2147483647 w 1526"/>
                  <a:gd name="T45" fmla="*/ 0 h 20"/>
                  <a:gd name="T46" fmla="*/ 2147483647 w 1526"/>
                  <a:gd name="T47" fmla="*/ 2147483647 h 20"/>
                  <a:gd name="T48" fmla="*/ 2147483647 w 1526"/>
                  <a:gd name="T49" fmla="*/ 0 h 20"/>
                  <a:gd name="T50" fmla="*/ 2147483647 w 1526"/>
                  <a:gd name="T51" fmla="*/ 2147483647 h 20"/>
                  <a:gd name="T52" fmla="*/ 2147483647 w 1526"/>
                  <a:gd name="T53" fmla="*/ 0 h 20"/>
                  <a:gd name="T54" fmla="*/ 2147483647 w 1526"/>
                  <a:gd name="T55" fmla="*/ 0 h 20"/>
                  <a:gd name="T56" fmla="*/ 2147483647 w 1526"/>
                  <a:gd name="T57" fmla="*/ 2147483647 h 20"/>
                  <a:gd name="T58" fmla="*/ 2147483647 w 1526"/>
                  <a:gd name="T59" fmla="*/ 0 h 20"/>
                  <a:gd name="T60" fmla="*/ 2147483647 w 1526"/>
                  <a:gd name="T61" fmla="*/ 2147483647 h 20"/>
                  <a:gd name="T62" fmla="*/ 2147483647 w 1526"/>
                  <a:gd name="T63" fmla="*/ 0 h 20"/>
                  <a:gd name="T64" fmla="*/ 2147483647 w 1526"/>
                  <a:gd name="T65" fmla="*/ 0 h 20"/>
                  <a:gd name="T66" fmla="*/ 2147483647 w 1526"/>
                  <a:gd name="T67" fmla="*/ 2147483647 h 20"/>
                  <a:gd name="T68" fmla="*/ 2147483647 w 1526"/>
                  <a:gd name="T69" fmla="*/ 0 h 20"/>
                  <a:gd name="T70" fmla="*/ 2147483647 w 1526"/>
                  <a:gd name="T71" fmla="*/ 2147483647 h 20"/>
                  <a:gd name="T72" fmla="*/ 2147483647 w 1526"/>
                  <a:gd name="T73" fmla="*/ 0 h 20"/>
                  <a:gd name="T74" fmla="*/ 2147483647 w 1526"/>
                  <a:gd name="T75" fmla="*/ 0 h 20"/>
                  <a:gd name="T76" fmla="*/ 2147483647 w 1526"/>
                  <a:gd name="T77" fmla="*/ 2147483647 h 20"/>
                  <a:gd name="T78" fmla="*/ 2147483647 w 1526"/>
                  <a:gd name="T79" fmla="*/ 0 h 20"/>
                  <a:gd name="T80" fmla="*/ 2147483647 w 1526"/>
                  <a:gd name="T81" fmla="*/ 2147483647 h 20"/>
                  <a:gd name="T82" fmla="*/ 2147483647 w 1526"/>
                  <a:gd name="T83" fmla="*/ 0 h 20"/>
                  <a:gd name="T84" fmla="*/ 2147483647 w 1526"/>
                  <a:gd name="T85" fmla="*/ 0 h 20"/>
                  <a:gd name="T86" fmla="*/ 2147483647 w 1526"/>
                  <a:gd name="T87" fmla="*/ 2147483647 h 20"/>
                  <a:gd name="T88" fmla="*/ 2147483647 w 1526"/>
                  <a:gd name="T89" fmla="*/ 0 h 20"/>
                  <a:gd name="T90" fmla="*/ 2147483647 w 1526"/>
                  <a:gd name="T91" fmla="*/ 2147483647 h 20"/>
                  <a:gd name="T92" fmla="*/ 2147483647 w 1526"/>
                  <a:gd name="T93" fmla="*/ 0 h 20"/>
                  <a:gd name="T94" fmla="*/ 2147483647 w 1526"/>
                  <a:gd name="T95" fmla="*/ 0 h 20"/>
                  <a:gd name="T96" fmla="*/ 2147483647 w 1526"/>
                  <a:gd name="T97" fmla="*/ 2147483647 h 20"/>
                  <a:gd name="T98" fmla="*/ 2147483647 w 1526"/>
                  <a:gd name="T99" fmla="*/ 0 h 20"/>
                  <a:gd name="T100" fmla="*/ 2147483647 w 1526"/>
                  <a:gd name="T101" fmla="*/ 2147483647 h 20"/>
                  <a:gd name="T102" fmla="*/ 2147483647 w 1526"/>
                  <a:gd name="T103" fmla="*/ 0 h 20"/>
                  <a:gd name="T104" fmla="*/ 2147483647 w 1526"/>
                  <a:gd name="T105" fmla="*/ 0 h 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26" h="20">
                    <a:moveTo>
                      <a:pt x="4" y="0"/>
                    </a:moveTo>
                    <a:lnTo>
                      <a:pt x="4" y="20"/>
                    </a:lnTo>
                    <a:lnTo>
                      <a:pt x="0" y="20"/>
                    </a:lnTo>
                    <a:lnTo>
                      <a:pt x="0" y="0"/>
                    </a:lnTo>
                    <a:lnTo>
                      <a:pt x="4" y="0"/>
                    </a:lnTo>
                    <a:close/>
                    <a:moveTo>
                      <a:pt x="54" y="0"/>
                    </a:moveTo>
                    <a:lnTo>
                      <a:pt x="54" y="20"/>
                    </a:lnTo>
                    <a:lnTo>
                      <a:pt x="49" y="20"/>
                    </a:lnTo>
                    <a:lnTo>
                      <a:pt x="49" y="0"/>
                    </a:lnTo>
                    <a:lnTo>
                      <a:pt x="54" y="0"/>
                    </a:lnTo>
                    <a:close/>
                    <a:moveTo>
                      <a:pt x="103" y="0"/>
                    </a:moveTo>
                    <a:lnTo>
                      <a:pt x="103" y="20"/>
                    </a:lnTo>
                    <a:lnTo>
                      <a:pt x="99" y="20"/>
                    </a:lnTo>
                    <a:lnTo>
                      <a:pt x="99" y="0"/>
                    </a:lnTo>
                    <a:lnTo>
                      <a:pt x="103" y="0"/>
                    </a:lnTo>
                    <a:close/>
                    <a:moveTo>
                      <a:pt x="151" y="0"/>
                    </a:moveTo>
                    <a:lnTo>
                      <a:pt x="151" y="20"/>
                    </a:lnTo>
                    <a:lnTo>
                      <a:pt x="147" y="20"/>
                    </a:lnTo>
                    <a:lnTo>
                      <a:pt x="147" y="0"/>
                    </a:lnTo>
                    <a:lnTo>
                      <a:pt x="151" y="0"/>
                    </a:lnTo>
                    <a:close/>
                    <a:moveTo>
                      <a:pt x="201" y="0"/>
                    </a:moveTo>
                    <a:lnTo>
                      <a:pt x="201" y="20"/>
                    </a:lnTo>
                    <a:lnTo>
                      <a:pt x="196" y="20"/>
                    </a:lnTo>
                    <a:lnTo>
                      <a:pt x="196" y="0"/>
                    </a:lnTo>
                    <a:lnTo>
                      <a:pt x="201" y="0"/>
                    </a:lnTo>
                    <a:close/>
                    <a:moveTo>
                      <a:pt x="250" y="0"/>
                    </a:moveTo>
                    <a:lnTo>
                      <a:pt x="250" y="20"/>
                    </a:lnTo>
                    <a:lnTo>
                      <a:pt x="245" y="20"/>
                    </a:lnTo>
                    <a:lnTo>
                      <a:pt x="245" y="0"/>
                    </a:lnTo>
                    <a:lnTo>
                      <a:pt x="250" y="0"/>
                    </a:lnTo>
                    <a:close/>
                    <a:moveTo>
                      <a:pt x="299" y="0"/>
                    </a:moveTo>
                    <a:lnTo>
                      <a:pt x="299" y="20"/>
                    </a:lnTo>
                    <a:lnTo>
                      <a:pt x="295" y="20"/>
                    </a:lnTo>
                    <a:lnTo>
                      <a:pt x="295" y="0"/>
                    </a:lnTo>
                    <a:lnTo>
                      <a:pt x="299" y="0"/>
                    </a:lnTo>
                    <a:close/>
                    <a:moveTo>
                      <a:pt x="348" y="0"/>
                    </a:moveTo>
                    <a:lnTo>
                      <a:pt x="348" y="20"/>
                    </a:lnTo>
                    <a:lnTo>
                      <a:pt x="344" y="20"/>
                    </a:lnTo>
                    <a:lnTo>
                      <a:pt x="344" y="0"/>
                    </a:lnTo>
                    <a:lnTo>
                      <a:pt x="348" y="0"/>
                    </a:lnTo>
                    <a:close/>
                    <a:moveTo>
                      <a:pt x="397" y="0"/>
                    </a:moveTo>
                    <a:lnTo>
                      <a:pt x="397" y="20"/>
                    </a:lnTo>
                    <a:lnTo>
                      <a:pt x="393" y="20"/>
                    </a:lnTo>
                    <a:lnTo>
                      <a:pt x="393" y="0"/>
                    </a:lnTo>
                    <a:lnTo>
                      <a:pt x="397" y="0"/>
                    </a:lnTo>
                    <a:close/>
                    <a:moveTo>
                      <a:pt x="446" y="0"/>
                    </a:moveTo>
                    <a:lnTo>
                      <a:pt x="446" y="20"/>
                    </a:lnTo>
                    <a:lnTo>
                      <a:pt x="442" y="20"/>
                    </a:lnTo>
                    <a:lnTo>
                      <a:pt x="442" y="0"/>
                    </a:lnTo>
                    <a:lnTo>
                      <a:pt x="446" y="0"/>
                    </a:lnTo>
                    <a:close/>
                    <a:moveTo>
                      <a:pt x="495" y="0"/>
                    </a:moveTo>
                    <a:lnTo>
                      <a:pt x="495" y="20"/>
                    </a:lnTo>
                    <a:lnTo>
                      <a:pt x="491" y="20"/>
                    </a:lnTo>
                    <a:lnTo>
                      <a:pt x="491" y="0"/>
                    </a:lnTo>
                    <a:lnTo>
                      <a:pt x="495" y="0"/>
                    </a:lnTo>
                    <a:close/>
                    <a:moveTo>
                      <a:pt x="544" y="0"/>
                    </a:moveTo>
                    <a:lnTo>
                      <a:pt x="544" y="20"/>
                    </a:lnTo>
                    <a:lnTo>
                      <a:pt x="540" y="20"/>
                    </a:lnTo>
                    <a:lnTo>
                      <a:pt x="540" y="0"/>
                    </a:lnTo>
                    <a:lnTo>
                      <a:pt x="544" y="0"/>
                    </a:lnTo>
                    <a:close/>
                    <a:moveTo>
                      <a:pt x="594" y="0"/>
                    </a:moveTo>
                    <a:lnTo>
                      <a:pt x="594" y="20"/>
                    </a:lnTo>
                    <a:lnTo>
                      <a:pt x="589" y="20"/>
                    </a:lnTo>
                    <a:lnTo>
                      <a:pt x="589" y="0"/>
                    </a:lnTo>
                    <a:lnTo>
                      <a:pt x="594" y="0"/>
                    </a:lnTo>
                    <a:close/>
                    <a:moveTo>
                      <a:pt x="643" y="0"/>
                    </a:moveTo>
                    <a:lnTo>
                      <a:pt x="643" y="20"/>
                    </a:lnTo>
                    <a:lnTo>
                      <a:pt x="638" y="20"/>
                    </a:lnTo>
                    <a:lnTo>
                      <a:pt x="638" y="0"/>
                    </a:lnTo>
                    <a:lnTo>
                      <a:pt x="643" y="0"/>
                    </a:lnTo>
                    <a:close/>
                    <a:moveTo>
                      <a:pt x="691" y="0"/>
                    </a:moveTo>
                    <a:lnTo>
                      <a:pt x="691" y="20"/>
                    </a:lnTo>
                    <a:lnTo>
                      <a:pt x="687" y="20"/>
                    </a:lnTo>
                    <a:lnTo>
                      <a:pt x="687" y="0"/>
                    </a:lnTo>
                    <a:lnTo>
                      <a:pt x="691" y="0"/>
                    </a:lnTo>
                    <a:close/>
                    <a:moveTo>
                      <a:pt x="740" y="0"/>
                    </a:moveTo>
                    <a:lnTo>
                      <a:pt x="740" y="20"/>
                    </a:lnTo>
                    <a:lnTo>
                      <a:pt x="736" y="20"/>
                    </a:lnTo>
                    <a:lnTo>
                      <a:pt x="736" y="0"/>
                    </a:lnTo>
                    <a:lnTo>
                      <a:pt x="740" y="0"/>
                    </a:lnTo>
                    <a:close/>
                    <a:moveTo>
                      <a:pt x="790" y="0"/>
                    </a:moveTo>
                    <a:lnTo>
                      <a:pt x="790" y="20"/>
                    </a:lnTo>
                    <a:lnTo>
                      <a:pt x="785" y="20"/>
                    </a:lnTo>
                    <a:lnTo>
                      <a:pt x="785" y="0"/>
                    </a:lnTo>
                    <a:lnTo>
                      <a:pt x="790" y="0"/>
                    </a:lnTo>
                    <a:close/>
                    <a:moveTo>
                      <a:pt x="839" y="0"/>
                    </a:moveTo>
                    <a:lnTo>
                      <a:pt x="839" y="20"/>
                    </a:lnTo>
                    <a:lnTo>
                      <a:pt x="835" y="20"/>
                    </a:lnTo>
                    <a:lnTo>
                      <a:pt x="835" y="0"/>
                    </a:lnTo>
                    <a:lnTo>
                      <a:pt x="839" y="0"/>
                    </a:lnTo>
                    <a:close/>
                    <a:moveTo>
                      <a:pt x="888" y="0"/>
                    </a:moveTo>
                    <a:lnTo>
                      <a:pt x="888" y="20"/>
                    </a:lnTo>
                    <a:lnTo>
                      <a:pt x="884" y="20"/>
                    </a:lnTo>
                    <a:lnTo>
                      <a:pt x="884" y="0"/>
                    </a:lnTo>
                    <a:lnTo>
                      <a:pt x="888" y="0"/>
                    </a:lnTo>
                    <a:close/>
                    <a:moveTo>
                      <a:pt x="937" y="0"/>
                    </a:moveTo>
                    <a:lnTo>
                      <a:pt x="937" y="20"/>
                    </a:lnTo>
                    <a:lnTo>
                      <a:pt x="933" y="20"/>
                    </a:lnTo>
                    <a:lnTo>
                      <a:pt x="933" y="0"/>
                    </a:lnTo>
                    <a:lnTo>
                      <a:pt x="937" y="0"/>
                    </a:lnTo>
                    <a:close/>
                    <a:moveTo>
                      <a:pt x="986" y="0"/>
                    </a:moveTo>
                    <a:lnTo>
                      <a:pt x="986" y="20"/>
                    </a:lnTo>
                    <a:lnTo>
                      <a:pt x="982" y="20"/>
                    </a:lnTo>
                    <a:lnTo>
                      <a:pt x="982" y="0"/>
                    </a:lnTo>
                    <a:lnTo>
                      <a:pt x="986" y="0"/>
                    </a:lnTo>
                    <a:close/>
                    <a:moveTo>
                      <a:pt x="1035" y="0"/>
                    </a:moveTo>
                    <a:lnTo>
                      <a:pt x="1035" y="20"/>
                    </a:lnTo>
                    <a:lnTo>
                      <a:pt x="1031" y="20"/>
                    </a:lnTo>
                    <a:lnTo>
                      <a:pt x="1031" y="0"/>
                    </a:lnTo>
                    <a:lnTo>
                      <a:pt x="1035" y="0"/>
                    </a:lnTo>
                    <a:close/>
                    <a:moveTo>
                      <a:pt x="1084" y="0"/>
                    </a:moveTo>
                    <a:lnTo>
                      <a:pt x="1084" y="20"/>
                    </a:lnTo>
                    <a:lnTo>
                      <a:pt x="1080" y="20"/>
                    </a:lnTo>
                    <a:lnTo>
                      <a:pt x="1080" y="0"/>
                    </a:lnTo>
                    <a:lnTo>
                      <a:pt x="1084" y="0"/>
                    </a:lnTo>
                    <a:close/>
                    <a:moveTo>
                      <a:pt x="1133" y="0"/>
                    </a:moveTo>
                    <a:lnTo>
                      <a:pt x="1133" y="20"/>
                    </a:lnTo>
                    <a:lnTo>
                      <a:pt x="1129" y="20"/>
                    </a:lnTo>
                    <a:lnTo>
                      <a:pt x="1129" y="0"/>
                    </a:lnTo>
                    <a:lnTo>
                      <a:pt x="1133" y="0"/>
                    </a:lnTo>
                    <a:close/>
                    <a:moveTo>
                      <a:pt x="1183" y="0"/>
                    </a:moveTo>
                    <a:lnTo>
                      <a:pt x="1183" y="20"/>
                    </a:lnTo>
                    <a:lnTo>
                      <a:pt x="1178" y="20"/>
                    </a:lnTo>
                    <a:lnTo>
                      <a:pt x="1178" y="0"/>
                    </a:lnTo>
                    <a:lnTo>
                      <a:pt x="1183" y="0"/>
                    </a:lnTo>
                    <a:close/>
                    <a:moveTo>
                      <a:pt x="1232" y="0"/>
                    </a:moveTo>
                    <a:lnTo>
                      <a:pt x="1232" y="20"/>
                    </a:lnTo>
                    <a:lnTo>
                      <a:pt x="1228" y="20"/>
                    </a:lnTo>
                    <a:lnTo>
                      <a:pt x="1228" y="0"/>
                    </a:lnTo>
                    <a:lnTo>
                      <a:pt x="1232" y="0"/>
                    </a:lnTo>
                    <a:close/>
                    <a:moveTo>
                      <a:pt x="1280" y="0"/>
                    </a:moveTo>
                    <a:lnTo>
                      <a:pt x="1280" y="20"/>
                    </a:lnTo>
                    <a:lnTo>
                      <a:pt x="1276" y="20"/>
                    </a:lnTo>
                    <a:lnTo>
                      <a:pt x="1276" y="0"/>
                    </a:lnTo>
                    <a:lnTo>
                      <a:pt x="1280" y="0"/>
                    </a:lnTo>
                    <a:close/>
                    <a:moveTo>
                      <a:pt x="1330" y="0"/>
                    </a:moveTo>
                    <a:lnTo>
                      <a:pt x="1330" y="20"/>
                    </a:lnTo>
                    <a:lnTo>
                      <a:pt x="1325" y="20"/>
                    </a:lnTo>
                    <a:lnTo>
                      <a:pt x="1325" y="0"/>
                    </a:lnTo>
                    <a:lnTo>
                      <a:pt x="1330" y="0"/>
                    </a:lnTo>
                    <a:close/>
                    <a:moveTo>
                      <a:pt x="1379" y="0"/>
                    </a:moveTo>
                    <a:lnTo>
                      <a:pt x="1379" y="20"/>
                    </a:lnTo>
                    <a:lnTo>
                      <a:pt x="1374" y="20"/>
                    </a:lnTo>
                    <a:lnTo>
                      <a:pt x="1374" y="0"/>
                    </a:lnTo>
                    <a:lnTo>
                      <a:pt x="1379" y="0"/>
                    </a:lnTo>
                    <a:close/>
                    <a:moveTo>
                      <a:pt x="1428" y="0"/>
                    </a:moveTo>
                    <a:lnTo>
                      <a:pt x="1428" y="20"/>
                    </a:lnTo>
                    <a:lnTo>
                      <a:pt x="1424" y="20"/>
                    </a:lnTo>
                    <a:lnTo>
                      <a:pt x="1424" y="0"/>
                    </a:lnTo>
                    <a:lnTo>
                      <a:pt x="1428" y="0"/>
                    </a:lnTo>
                    <a:close/>
                    <a:moveTo>
                      <a:pt x="1477" y="0"/>
                    </a:moveTo>
                    <a:lnTo>
                      <a:pt x="1477" y="20"/>
                    </a:lnTo>
                    <a:lnTo>
                      <a:pt x="1473" y="20"/>
                    </a:lnTo>
                    <a:lnTo>
                      <a:pt x="1473" y="0"/>
                    </a:lnTo>
                    <a:lnTo>
                      <a:pt x="1477" y="0"/>
                    </a:lnTo>
                    <a:close/>
                    <a:moveTo>
                      <a:pt x="1526" y="0"/>
                    </a:moveTo>
                    <a:lnTo>
                      <a:pt x="1526" y="20"/>
                    </a:lnTo>
                    <a:lnTo>
                      <a:pt x="1521" y="20"/>
                    </a:lnTo>
                    <a:lnTo>
                      <a:pt x="1521" y="0"/>
                    </a:lnTo>
                    <a:lnTo>
                      <a:pt x="1526"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611" name="Freeform 197">
                <a:extLst>
                  <a:ext uri="{FF2B5EF4-FFF2-40B4-BE49-F238E27FC236}">
                    <a16:creationId xmlns:a16="http://schemas.microsoft.com/office/drawing/2014/main" id="{AF1AE966-4F0F-C606-6528-0AF188307A84}"/>
                  </a:ext>
                </a:extLst>
              </p:cNvPr>
              <p:cNvSpPr>
                <a:spLocks/>
              </p:cNvSpPr>
              <p:nvPr/>
            </p:nvSpPr>
            <p:spPr bwMode="auto">
              <a:xfrm>
                <a:off x="2689243" y="4759343"/>
                <a:ext cx="2359025" cy="725488"/>
              </a:xfrm>
              <a:custGeom>
                <a:avLst/>
                <a:gdLst>
                  <a:gd name="T0" fmla="*/ 2147483647 w 16665"/>
                  <a:gd name="T1" fmla="*/ 2147483647 h 5138"/>
                  <a:gd name="T2" fmla="*/ 2147483647 w 16665"/>
                  <a:gd name="T3" fmla="*/ 2147483647 h 5138"/>
                  <a:gd name="T4" fmla="*/ 2147483647 w 16665"/>
                  <a:gd name="T5" fmla="*/ 2147483647 h 5138"/>
                  <a:gd name="T6" fmla="*/ 2147483647 w 16665"/>
                  <a:gd name="T7" fmla="*/ 2147483647 h 5138"/>
                  <a:gd name="T8" fmla="*/ 2147483647 w 16665"/>
                  <a:gd name="T9" fmla="*/ 2147483647 h 5138"/>
                  <a:gd name="T10" fmla="*/ 2147483647 w 16665"/>
                  <a:gd name="T11" fmla="*/ 2147483647 h 5138"/>
                  <a:gd name="T12" fmla="*/ 2147483647 w 16665"/>
                  <a:gd name="T13" fmla="*/ 2147483647 h 5138"/>
                  <a:gd name="T14" fmla="*/ 2147483647 w 16665"/>
                  <a:gd name="T15" fmla="*/ 2147483647 h 5138"/>
                  <a:gd name="T16" fmla="*/ 2147483647 w 16665"/>
                  <a:gd name="T17" fmla="*/ 2147483647 h 5138"/>
                  <a:gd name="T18" fmla="*/ 2147483647 w 16665"/>
                  <a:gd name="T19" fmla="*/ 2147483647 h 5138"/>
                  <a:gd name="T20" fmla="*/ 2147483647 w 16665"/>
                  <a:gd name="T21" fmla="*/ 2147483647 h 5138"/>
                  <a:gd name="T22" fmla="*/ 2147483647 w 16665"/>
                  <a:gd name="T23" fmla="*/ 0 h 5138"/>
                  <a:gd name="T24" fmla="*/ 2147483647 w 16665"/>
                  <a:gd name="T25" fmla="*/ 0 h 5138"/>
                  <a:gd name="T26" fmla="*/ 2147483647 w 16665"/>
                  <a:gd name="T27" fmla="*/ 0 h 5138"/>
                  <a:gd name="T28" fmla="*/ 2147483647 w 16665"/>
                  <a:gd name="T29" fmla="*/ 0 h 5138"/>
                  <a:gd name="T30" fmla="*/ 2147483647 w 16665"/>
                  <a:gd name="T31" fmla="*/ 2147483647 h 5138"/>
                  <a:gd name="T32" fmla="*/ 2147483647 w 16665"/>
                  <a:gd name="T33" fmla="*/ 2147483647 h 5138"/>
                  <a:gd name="T34" fmla="*/ 2147483647 w 16665"/>
                  <a:gd name="T35" fmla="*/ 2147483647 h 5138"/>
                  <a:gd name="T36" fmla="*/ 2147483647 w 16665"/>
                  <a:gd name="T37" fmla="*/ 2147483647 h 5138"/>
                  <a:gd name="T38" fmla="*/ 2147483647 w 16665"/>
                  <a:gd name="T39" fmla="*/ 2147483647 h 5138"/>
                  <a:gd name="T40" fmla="*/ 2147483647 w 16665"/>
                  <a:gd name="T41" fmla="*/ 2147483647 h 5138"/>
                  <a:gd name="T42" fmla="*/ 2147483647 w 16665"/>
                  <a:gd name="T43" fmla="*/ 2147483647 h 5138"/>
                  <a:gd name="T44" fmla="*/ 2147483647 w 16665"/>
                  <a:gd name="T45" fmla="*/ 2147483647 h 5138"/>
                  <a:gd name="T46" fmla="*/ 2147483647 w 16665"/>
                  <a:gd name="T47" fmla="*/ 2147483647 h 5138"/>
                  <a:gd name="T48" fmla="*/ 2147483647 w 16665"/>
                  <a:gd name="T49" fmla="*/ 2147483647 h 5138"/>
                  <a:gd name="T50" fmla="*/ 2147483647 w 16665"/>
                  <a:gd name="T51" fmla="*/ 2147483647 h 5138"/>
                  <a:gd name="T52" fmla="*/ 2147483647 w 16665"/>
                  <a:gd name="T53" fmla="*/ 2147483647 h 5138"/>
                  <a:gd name="T54" fmla="*/ 2147483647 w 16665"/>
                  <a:gd name="T55" fmla="*/ 2147483647 h 5138"/>
                  <a:gd name="T56" fmla="*/ 2147483647 w 16665"/>
                  <a:gd name="T57" fmla="*/ 2147483647 h 5138"/>
                  <a:gd name="T58" fmla="*/ 2147483647 w 16665"/>
                  <a:gd name="T59" fmla="*/ 2147483647 h 5138"/>
                  <a:gd name="T60" fmla="*/ 2147483647 w 16665"/>
                  <a:gd name="T61" fmla="*/ 2147483647 h 5138"/>
                  <a:gd name="T62" fmla="*/ 2147483647 w 16665"/>
                  <a:gd name="T63" fmla="*/ 2147483647 h 51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6665" h="5138">
                    <a:moveTo>
                      <a:pt x="71" y="4992"/>
                    </a:moveTo>
                    <a:lnTo>
                      <a:pt x="623" y="4976"/>
                    </a:lnTo>
                    <a:lnTo>
                      <a:pt x="1168" y="4905"/>
                    </a:lnTo>
                    <a:lnTo>
                      <a:pt x="1710" y="4755"/>
                    </a:lnTo>
                    <a:lnTo>
                      <a:pt x="2253" y="4518"/>
                    </a:lnTo>
                    <a:lnTo>
                      <a:pt x="2788" y="4195"/>
                    </a:lnTo>
                    <a:lnTo>
                      <a:pt x="3335" y="3791"/>
                    </a:lnTo>
                    <a:lnTo>
                      <a:pt x="3883" y="3329"/>
                    </a:lnTo>
                    <a:lnTo>
                      <a:pt x="4433" y="2835"/>
                    </a:lnTo>
                    <a:lnTo>
                      <a:pt x="4985" y="2339"/>
                    </a:lnTo>
                    <a:lnTo>
                      <a:pt x="5538" y="1858"/>
                    </a:lnTo>
                    <a:lnTo>
                      <a:pt x="6085" y="1424"/>
                    </a:lnTo>
                    <a:lnTo>
                      <a:pt x="6641" y="1045"/>
                    </a:lnTo>
                    <a:lnTo>
                      <a:pt x="7199" y="737"/>
                    </a:lnTo>
                    <a:lnTo>
                      <a:pt x="7758" y="502"/>
                    </a:lnTo>
                    <a:lnTo>
                      <a:pt x="8316" y="324"/>
                    </a:lnTo>
                    <a:lnTo>
                      <a:pt x="8874" y="202"/>
                    </a:lnTo>
                    <a:lnTo>
                      <a:pt x="9423" y="121"/>
                    </a:lnTo>
                    <a:lnTo>
                      <a:pt x="9978" y="65"/>
                    </a:lnTo>
                    <a:lnTo>
                      <a:pt x="10534" y="41"/>
                    </a:lnTo>
                    <a:lnTo>
                      <a:pt x="11086" y="17"/>
                    </a:lnTo>
                    <a:lnTo>
                      <a:pt x="11640" y="8"/>
                    </a:lnTo>
                    <a:lnTo>
                      <a:pt x="12185" y="8"/>
                    </a:lnTo>
                    <a:lnTo>
                      <a:pt x="12736" y="0"/>
                    </a:lnTo>
                    <a:lnTo>
                      <a:pt x="13289" y="0"/>
                    </a:lnTo>
                    <a:lnTo>
                      <a:pt x="13841" y="0"/>
                    </a:lnTo>
                    <a:lnTo>
                      <a:pt x="14393" y="0"/>
                    </a:lnTo>
                    <a:lnTo>
                      <a:pt x="14945" y="0"/>
                    </a:lnTo>
                    <a:lnTo>
                      <a:pt x="15489" y="0"/>
                    </a:lnTo>
                    <a:lnTo>
                      <a:pt x="16041" y="0"/>
                    </a:lnTo>
                    <a:lnTo>
                      <a:pt x="16593" y="0"/>
                    </a:lnTo>
                    <a:cubicBezTo>
                      <a:pt x="16633" y="0"/>
                      <a:pt x="16665" y="33"/>
                      <a:pt x="16665" y="72"/>
                    </a:cubicBezTo>
                    <a:cubicBezTo>
                      <a:pt x="16665" y="112"/>
                      <a:pt x="16633" y="144"/>
                      <a:pt x="16593" y="144"/>
                    </a:cubicBezTo>
                    <a:lnTo>
                      <a:pt x="16041" y="144"/>
                    </a:lnTo>
                    <a:lnTo>
                      <a:pt x="15489" y="144"/>
                    </a:lnTo>
                    <a:lnTo>
                      <a:pt x="14945" y="144"/>
                    </a:lnTo>
                    <a:lnTo>
                      <a:pt x="14393" y="144"/>
                    </a:lnTo>
                    <a:lnTo>
                      <a:pt x="13841" y="144"/>
                    </a:lnTo>
                    <a:lnTo>
                      <a:pt x="13289" y="144"/>
                    </a:lnTo>
                    <a:lnTo>
                      <a:pt x="12739" y="144"/>
                    </a:lnTo>
                    <a:lnTo>
                      <a:pt x="12185" y="152"/>
                    </a:lnTo>
                    <a:lnTo>
                      <a:pt x="11643" y="152"/>
                    </a:lnTo>
                    <a:lnTo>
                      <a:pt x="11093" y="160"/>
                    </a:lnTo>
                    <a:lnTo>
                      <a:pt x="10541" y="184"/>
                    </a:lnTo>
                    <a:lnTo>
                      <a:pt x="9993" y="208"/>
                    </a:lnTo>
                    <a:lnTo>
                      <a:pt x="9444" y="264"/>
                    </a:lnTo>
                    <a:lnTo>
                      <a:pt x="8905" y="343"/>
                    </a:lnTo>
                    <a:lnTo>
                      <a:pt x="8359" y="461"/>
                    </a:lnTo>
                    <a:lnTo>
                      <a:pt x="7813" y="635"/>
                    </a:lnTo>
                    <a:lnTo>
                      <a:pt x="7268" y="864"/>
                    </a:lnTo>
                    <a:lnTo>
                      <a:pt x="6722" y="1164"/>
                    </a:lnTo>
                    <a:lnTo>
                      <a:pt x="6174" y="1537"/>
                    </a:lnTo>
                    <a:lnTo>
                      <a:pt x="5633" y="1967"/>
                    </a:lnTo>
                    <a:lnTo>
                      <a:pt x="5082" y="2446"/>
                    </a:lnTo>
                    <a:lnTo>
                      <a:pt x="4530" y="2942"/>
                    </a:lnTo>
                    <a:lnTo>
                      <a:pt x="3976" y="3440"/>
                    </a:lnTo>
                    <a:lnTo>
                      <a:pt x="3420" y="3906"/>
                    </a:lnTo>
                    <a:lnTo>
                      <a:pt x="2863" y="4318"/>
                    </a:lnTo>
                    <a:lnTo>
                      <a:pt x="2310" y="4650"/>
                    </a:lnTo>
                    <a:lnTo>
                      <a:pt x="1749" y="4894"/>
                    </a:lnTo>
                    <a:lnTo>
                      <a:pt x="1187" y="5048"/>
                    </a:lnTo>
                    <a:lnTo>
                      <a:pt x="628" y="5120"/>
                    </a:lnTo>
                    <a:lnTo>
                      <a:pt x="76" y="5136"/>
                    </a:lnTo>
                    <a:cubicBezTo>
                      <a:pt x="36" y="5138"/>
                      <a:pt x="3" y="5106"/>
                      <a:pt x="1" y="5067"/>
                    </a:cubicBezTo>
                    <a:cubicBezTo>
                      <a:pt x="0" y="5027"/>
                      <a:pt x="32" y="4994"/>
                      <a:pt x="71" y="4992"/>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612" name="Freeform 198">
                <a:extLst>
                  <a:ext uri="{FF2B5EF4-FFF2-40B4-BE49-F238E27FC236}">
                    <a16:creationId xmlns:a16="http://schemas.microsoft.com/office/drawing/2014/main" id="{4E8307FC-D499-0657-DF36-07F68BC3DF53}"/>
                  </a:ext>
                </a:extLst>
              </p:cNvPr>
              <p:cNvSpPr>
                <a:spLocks/>
              </p:cNvSpPr>
              <p:nvPr/>
            </p:nvSpPr>
            <p:spPr bwMode="auto">
              <a:xfrm>
                <a:off x="2667018" y="5441968"/>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13" name="Freeform 199">
                <a:extLst>
                  <a:ext uri="{FF2B5EF4-FFF2-40B4-BE49-F238E27FC236}">
                    <a16:creationId xmlns:a16="http://schemas.microsoft.com/office/drawing/2014/main" id="{857E7F5F-8D7A-059B-4B57-F4637256B38A}"/>
                  </a:ext>
                </a:extLst>
              </p:cNvPr>
              <p:cNvSpPr>
                <a:spLocks noEditPoints="1"/>
              </p:cNvSpPr>
              <p:nvPr/>
            </p:nvSpPr>
            <p:spPr bwMode="auto">
              <a:xfrm>
                <a:off x="2663843" y="5438793"/>
                <a:ext cx="73025" cy="71438"/>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14" name="Freeform 200">
                <a:extLst>
                  <a:ext uri="{FF2B5EF4-FFF2-40B4-BE49-F238E27FC236}">
                    <a16:creationId xmlns:a16="http://schemas.microsoft.com/office/drawing/2014/main" id="{5849C2B8-FD33-1D72-D2A0-18CDDF679E29}"/>
                  </a:ext>
                </a:extLst>
              </p:cNvPr>
              <p:cNvSpPr>
                <a:spLocks/>
              </p:cNvSpPr>
              <p:nvPr/>
            </p:nvSpPr>
            <p:spPr bwMode="auto">
              <a:xfrm>
                <a:off x="2744805" y="543879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15" name="Freeform 201">
                <a:extLst>
                  <a:ext uri="{FF2B5EF4-FFF2-40B4-BE49-F238E27FC236}">
                    <a16:creationId xmlns:a16="http://schemas.microsoft.com/office/drawing/2014/main" id="{C95284DE-E8EF-C284-6F28-7E07716FE918}"/>
                  </a:ext>
                </a:extLst>
              </p:cNvPr>
              <p:cNvSpPr>
                <a:spLocks noEditPoints="1"/>
              </p:cNvSpPr>
              <p:nvPr/>
            </p:nvSpPr>
            <p:spPr bwMode="auto">
              <a:xfrm>
                <a:off x="2741630" y="543561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16" name="Freeform 202">
                <a:extLst>
                  <a:ext uri="{FF2B5EF4-FFF2-40B4-BE49-F238E27FC236}">
                    <a16:creationId xmlns:a16="http://schemas.microsoft.com/office/drawing/2014/main" id="{AF42B507-3E64-D85E-FCFC-25D05B509044}"/>
                  </a:ext>
                </a:extLst>
              </p:cNvPr>
              <p:cNvSpPr>
                <a:spLocks/>
              </p:cNvSpPr>
              <p:nvPr/>
            </p:nvSpPr>
            <p:spPr bwMode="auto">
              <a:xfrm>
                <a:off x="2822593" y="542926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17" name="Freeform 203">
                <a:extLst>
                  <a:ext uri="{FF2B5EF4-FFF2-40B4-BE49-F238E27FC236}">
                    <a16:creationId xmlns:a16="http://schemas.microsoft.com/office/drawing/2014/main" id="{6D6D1305-5719-1450-0F3A-81A7FFD0FAEE}"/>
                  </a:ext>
                </a:extLst>
              </p:cNvPr>
              <p:cNvSpPr>
                <a:spLocks noEditPoints="1"/>
              </p:cNvSpPr>
              <p:nvPr/>
            </p:nvSpPr>
            <p:spPr bwMode="auto">
              <a:xfrm>
                <a:off x="2819418" y="5426093"/>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18" name="Freeform 204">
                <a:extLst>
                  <a:ext uri="{FF2B5EF4-FFF2-40B4-BE49-F238E27FC236}">
                    <a16:creationId xmlns:a16="http://schemas.microsoft.com/office/drawing/2014/main" id="{4144B37C-3D98-631F-28F9-12F4AD7AF050}"/>
                  </a:ext>
                </a:extLst>
              </p:cNvPr>
              <p:cNvSpPr>
                <a:spLocks/>
              </p:cNvSpPr>
              <p:nvPr/>
            </p:nvSpPr>
            <p:spPr bwMode="auto">
              <a:xfrm>
                <a:off x="2900380" y="540704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nvGrpSpPr>
              <p:cNvPr id="619" name="Group 406">
                <a:extLst>
                  <a:ext uri="{FF2B5EF4-FFF2-40B4-BE49-F238E27FC236}">
                    <a16:creationId xmlns:a16="http://schemas.microsoft.com/office/drawing/2014/main" id="{BDBF3AFB-3B08-4E9D-68C9-3F93E39C89F7}"/>
                  </a:ext>
                </a:extLst>
              </p:cNvPr>
              <p:cNvGrpSpPr>
                <a:grpSpLocks/>
              </p:cNvGrpSpPr>
              <p:nvPr/>
            </p:nvGrpSpPr>
            <p:grpSpPr bwMode="auto">
              <a:xfrm>
                <a:off x="2413018" y="2865456"/>
                <a:ext cx="5588000" cy="2847975"/>
                <a:chOff x="1115" y="1763"/>
                <a:chExt cx="3520" cy="1794"/>
              </a:xfrm>
            </p:grpSpPr>
            <p:sp>
              <p:nvSpPr>
                <p:cNvPr id="777" name="Freeform 206">
                  <a:extLst>
                    <a:ext uri="{FF2B5EF4-FFF2-40B4-BE49-F238E27FC236}">
                      <a16:creationId xmlns:a16="http://schemas.microsoft.com/office/drawing/2014/main" id="{8E4C09D2-F2A1-FC30-ABF4-022B314BD33D}"/>
                    </a:ext>
                  </a:extLst>
                </p:cNvPr>
                <p:cNvSpPr>
                  <a:spLocks noEditPoints="1"/>
                </p:cNvSpPr>
                <p:nvPr/>
              </p:nvSpPr>
              <p:spPr bwMode="auto">
                <a:xfrm>
                  <a:off x="1420" y="3362"/>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78" name="Freeform 207">
                  <a:extLst>
                    <a:ext uri="{FF2B5EF4-FFF2-40B4-BE49-F238E27FC236}">
                      <a16:creationId xmlns:a16="http://schemas.microsoft.com/office/drawing/2014/main" id="{7686611B-D1B5-BACD-A80C-6B5E0C8AC892}"/>
                    </a:ext>
                  </a:extLst>
                </p:cNvPr>
                <p:cNvSpPr>
                  <a:spLocks/>
                </p:cNvSpPr>
                <p:nvPr/>
              </p:nvSpPr>
              <p:spPr bwMode="auto">
                <a:xfrm>
                  <a:off x="1471" y="3343"/>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79" name="Freeform 208">
                  <a:extLst>
                    <a:ext uri="{FF2B5EF4-FFF2-40B4-BE49-F238E27FC236}">
                      <a16:creationId xmlns:a16="http://schemas.microsoft.com/office/drawing/2014/main" id="{1C3939D5-A3C0-805C-3CD4-8D5D6E647FE0}"/>
                    </a:ext>
                  </a:extLst>
                </p:cNvPr>
                <p:cNvSpPr>
                  <a:spLocks noEditPoints="1"/>
                </p:cNvSpPr>
                <p:nvPr/>
              </p:nvSpPr>
              <p:spPr bwMode="auto">
                <a:xfrm>
                  <a:off x="1469" y="3341"/>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80" name="Freeform 209">
                  <a:extLst>
                    <a:ext uri="{FF2B5EF4-FFF2-40B4-BE49-F238E27FC236}">
                      <a16:creationId xmlns:a16="http://schemas.microsoft.com/office/drawing/2014/main" id="{107A05CF-5CE3-64E7-A413-24D2F20B4398}"/>
                    </a:ext>
                  </a:extLst>
                </p:cNvPr>
                <p:cNvSpPr>
                  <a:spLocks/>
                </p:cNvSpPr>
                <p:nvPr/>
              </p:nvSpPr>
              <p:spPr bwMode="auto">
                <a:xfrm>
                  <a:off x="1520" y="3314"/>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1" name="Freeform 210">
                  <a:extLst>
                    <a:ext uri="{FF2B5EF4-FFF2-40B4-BE49-F238E27FC236}">
                      <a16:creationId xmlns:a16="http://schemas.microsoft.com/office/drawing/2014/main" id="{C21C81E4-FD65-9912-26B4-512EA427CEF0}"/>
                    </a:ext>
                  </a:extLst>
                </p:cNvPr>
                <p:cNvSpPr>
                  <a:spLocks noEditPoints="1"/>
                </p:cNvSpPr>
                <p:nvPr/>
              </p:nvSpPr>
              <p:spPr bwMode="auto">
                <a:xfrm>
                  <a:off x="1518" y="3312"/>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82" name="Freeform 211">
                  <a:extLst>
                    <a:ext uri="{FF2B5EF4-FFF2-40B4-BE49-F238E27FC236}">
                      <a16:creationId xmlns:a16="http://schemas.microsoft.com/office/drawing/2014/main" id="{FF24DCAF-6B7A-82E2-C7B9-5C7D6AA7A50F}"/>
                    </a:ext>
                  </a:extLst>
                </p:cNvPr>
                <p:cNvSpPr>
                  <a:spLocks/>
                </p:cNvSpPr>
                <p:nvPr/>
              </p:nvSpPr>
              <p:spPr bwMode="auto">
                <a:xfrm>
                  <a:off x="1569" y="3278"/>
                  <a:ext cx="42" cy="41"/>
                </a:xfrm>
                <a:custGeom>
                  <a:avLst/>
                  <a:gdLst>
                    <a:gd name="T0" fmla="*/ 21 w 42"/>
                    <a:gd name="T1" fmla="*/ 0 h 41"/>
                    <a:gd name="T2" fmla="*/ 42 w 42"/>
                    <a:gd name="T3" fmla="*/ 20 h 41"/>
                    <a:gd name="T4" fmla="*/ 21 w 42"/>
                    <a:gd name="T5" fmla="*/ 41 h 41"/>
                    <a:gd name="T6" fmla="*/ 0 w 42"/>
                    <a:gd name="T7" fmla="*/ 20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3" name="Freeform 212">
                  <a:extLst>
                    <a:ext uri="{FF2B5EF4-FFF2-40B4-BE49-F238E27FC236}">
                      <a16:creationId xmlns:a16="http://schemas.microsoft.com/office/drawing/2014/main" id="{23EBBF1C-A96A-9B53-C76F-EBB029EF1B12}"/>
                    </a:ext>
                  </a:extLst>
                </p:cNvPr>
                <p:cNvSpPr>
                  <a:spLocks noEditPoints="1"/>
                </p:cNvSpPr>
                <p:nvPr/>
              </p:nvSpPr>
              <p:spPr bwMode="auto">
                <a:xfrm>
                  <a:off x="1567" y="3275"/>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84" name="Freeform 213">
                  <a:extLst>
                    <a:ext uri="{FF2B5EF4-FFF2-40B4-BE49-F238E27FC236}">
                      <a16:creationId xmlns:a16="http://schemas.microsoft.com/office/drawing/2014/main" id="{6B1D3880-D68D-D9A3-355F-19DB3A16C2E6}"/>
                    </a:ext>
                  </a:extLst>
                </p:cNvPr>
                <p:cNvSpPr>
                  <a:spLocks/>
                </p:cNvSpPr>
                <p:nvPr/>
              </p:nvSpPr>
              <p:spPr bwMode="auto">
                <a:xfrm>
                  <a:off x="1619" y="3236"/>
                  <a:ext cx="41" cy="42"/>
                </a:xfrm>
                <a:custGeom>
                  <a:avLst/>
                  <a:gdLst>
                    <a:gd name="T0" fmla="*/ 20 w 41"/>
                    <a:gd name="T1" fmla="*/ 0 h 42"/>
                    <a:gd name="T2" fmla="*/ 41 w 41"/>
                    <a:gd name="T3" fmla="*/ 21 h 42"/>
                    <a:gd name="T4" fmla="*/ 20 w 41"/>
                    <a:gd name="T5" fmla="*/ 42 h 42"/>
                    <a:gd name="T6" fmla="*/ 0 w 41"/>
                    <a:gd name="T7" fmla="*/ 21 h 42"/>
                    <a:gd name="T8" fmla="*/ 20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5" name="Freeform 214">
                  <a:extLst>
                    <a:ext uri="{FF2B5EF4-FFF2-40B4-BE49-F238E27FC236}">
                      <a16:creationId xmlns:a16="http://schemas.microsoft.com/office/drawing/2014/main" id="{7EEB0E91-6966-2DFA-FEC7-B3B84F3A34F6}"/>
                    </a:ext>
                  </a:extLst>
                </p:cNvPr>
                <p:cNvSpPr>
                  <a:spLocks noEditPoints="1"/>
                </p:cNvSpPr>
                <p:nvPr/>
              </p:nvSpPr>
              <p:spPr bwMode="auto">
                <a:xfrm>
                  <a:off x="1616" y="323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86" name="Freeform 215">
                  <a:extLst>
                    <a:ext uri="{FF2B5EF4-FFF2-40B4-BE49-F238E27FC236}">
                      <a16:creationId xmlns:a16="http://schemas.microsoft.com/office/drawing/2014/main" id="{EA51D8A1-AD80-8674-FA3C-AB4F849C913C}"/>
                    </a:ext>
                  </a:extLst>
                </p:cNvPr>
                <p:cNvSpPr>
                  <a:spLocks/>
                </p:cNvSpPr>
                <p:nvPr/>
              </p:nvSpPr>
              <p:spPr bwMode="auto">
                <a:xfrm>
                  <a:off x="1667" y="3192"/>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7" name="Freeform 216">
                  <a:extLst>
                    <a:ext uri="{FF2B5EF4-FFF2-40B4-BE49-F238E27FC236}">
                      <a16:creationId xmlns:a16="http://schemas.microsoft.com/office/drawing/2014/main" id="{F7968AE1-2859-FA63-5CEB-205C1C6A71AA}"/>
                    </a:ext>
                  </a:extLst>
                </p:cNvPr>
                <p:cNvSpPr>
                  <a:spLocks noEditPoints="1"/>
                </p:cNvSpPr>
                <p:nvPr/>
              </p:nvSpPr>
              <p:spPr bwMode="auto">
                <a:xfrm>
                  <a:off x="1665" y="319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88" name="Freeform 217">
                  <a:extLst>
                    <a:ext uri="{FF2B5EF4-FFF2-40B4-BE49-F238E27FC236}">
                      <a16:creationId xmlns:a16="http://schemas.microsoft.com/office/drawing/2014/main" id="{54E6F2BF-4D2F-4149-A9CE-31033CE852B1}"/>
                    </a:ext>
                  </a:extLst>
                </p:cNvPr>
                <p:cNvSpPr>
                  <a:spLocks/>
                </p:cNvSpPr>
                <p:nvPr/>
              </p:nvSpPr>
              <p:spPr bwMode="auto">
                <a:xfrm>
                  <a:off x="1716" y="3147"/>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9" name="Freeform 218">
                  <a:extLst>
                    <a:ext uri="{FF2B5EF4-FFF2-40B4-BE49-F238E27FC236}">
                      <a16:creationId xmlns:a16="http://schemas.microsoft.com/office/drawing/2014/main" id="{5C80A998-996E-D33B-8ED2-4276AB0F8C4D}"/>
                    </a:ext>
                  </a:extLst>
                </p:cNvPr>
                <p:cNvSpPr>
                  <a:spLocks noEditPoints="1"/>
                </p:cNvSpPr>
                <p:nvPr/>
              </p:nvSpPr>
              <p:spPr bwMode="auto">
                <a:xfrm>
                  <a:off x="1714" y="3145"/>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90" name="Freeform 219">
                  <a:extLst>
                    <a:ext uri="{FF2B5EF4-FFF2-40B4-BE49-F238E27FC236}">
                      <a16:creationId xmlns:a16="http://schemas.microsoft.com/office/drawing/2014/main" id="{9282C09E-DD76-C6C7-518E-8381F1EE4F11}"/>
                    </a:ext>
                  </a:extLst>
                </p:cNvPr>
                <p:cNvSpPr>
                  <a:spLocks/>
                </p:cNvSpPr>
                <p:nvPr/>
              </p:nvSpPr>
              <p:spPr bwMode="auto">
                <a:xfrm>
                  <a:off x="1766" y="3105"/>
                  <a:ext cx="41" cy="41"/>
                </a:xfrm>
                <a:custGeom>
                  <a:avLst/>
                  <a:gdLst>
                    <a:gd name="T0" fmla="*/ 20 w 41"/>
                    <a:gd name="T1" fmla="*/ 0 h 41"/>
                    <a:gd name="T2" fmla="*/ 41 w 41"/>
                    <a:gd name="T3" fmla="*/ 20 h 41"/>
                    <a:gd name="T4" fmla="*/ 20 w 41"/>
                    <a:gd name="T5" fmla="*/ 41 h 41"/>
                    <a:gd name="T6" fmla="*/ 0 w 41"/>
                    <a:gd name="T7" fmla="*/ 20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0"/>
                      </a:lnTo>
                      <a:lnTo>
                        <a:pt x="20" y="41"/>
                      </a:lnTo>
                      <a:lnTo>
                        <a:pt x="0" y="20"/>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1" name="Freeform 220">
                  <a:extLst>
                    <a:ext uri="{FF2B5EF4-FFF2-40B4-BE49-F238E27FC236}">
                      <a16:creationId xmlns:a16="http://schemas.microsoft.com/office/drawing/2014/main" id="{0CF8842E-205B-6D1E-4302-B265B08D8536}"/>
                    </a:ext>
                  </a:extLst>
                </p:cNvPr>
                <p:cNvSpPr>
                  <a:spLocks noEditPoints="1"/>
                </p:cNvSpPr>
                <p:nvPr/>
              </p:nvSpPr>
              <p:spPr bwMode="auto">
                <a:xfrm>
                  <a:off x="1763" y="3102"/>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92" name="Freeform 221">
                  <a:extLst>
                    <a:ext uri="{FF2B5EF4-FFF2-40B4-BE49-F238E27FC236}">
                      <a16:creationId xmlns:a16="http://schemas.microsoft.com/office/drawing/2014/main" id="{12D7B3A2-1E8D-B162-2DEE-753940F76338}"/>
                    </a:ext>
                  </a:extLst>
                </p:cNvPr>
                <p:cNvSpPr>
                  <a:spLocks/>
                </p:cNvSpPr>
                <p:nvPr/>
              </p:nvSpPr>
              <p:spPr bwMode="auto">
                <a:xfrm>
                  <a:off x="1815" y="306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3" name="Freeform 222">
                  <a:extLst>
                    <a:ext uri="{FF2B5EF4-FFF2-40B4-BE49-F238E27FC236}">
                      <a16:creationId xmlns:a16="http://schemas.microsoft.com/office/drawing/2014/main" id="{66191DB2-1327-989B-D464-0833BF045348}"/>
                    </a:ext>
                  </a:extLst>
                </p:cNvPr>
                <p:cNvSpPr>
                  <a:spLocks noEditPoints="1"/>
                </p:cNvSpPr>
                <p:nvPr/>
              </p:nvSpPr>
              <p:spPr bwMode="auto">
                <a:xfrm>
                  <a:off x="1813" y="306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94" name="Freeform 223">
                  <a:extLst>
                    <a:ext uri="{FF2B5EF4-FFF2-40B4-BE49-F238E27FC236}">
                      <a16:creationId xmlns:a16="http://schemas.microsoft.com/office/drawing/2014/main" id="{1EDB0CD4-EA9B-9134-11FF-3350A410A584}"/>
                    </a:ext>
                  </a:extLst>
                </p:cNvPr>
                <p:cNvSpPr>
                  <a:spLocks/>
                </p:cNvSpPr>
                <p:nvPr/>
              </p:nvSpPr>
              <p:spPr bwMode="auto">
                <a:xfrm>
                  <a:off x="1864" y="3033"/>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5" name="Freeform 224">
                  <a:extLst>
                    <a:ext uri="{FF2B5EF4-FFF2-40B4-BE49-F238E27FC236}">
                      <a16:creationId xmlns:a16="http://schemas.microsoft.com/office/drawing/2014/main" id="{47CDF8AE-6DD2-3623-3133-4F8F56983499}"/>
                    </a:ext>
                  </a:extLst>
                </p:cNvPr>
                <p:cNvSpPr>
                  <a:spLocks noEditPoints="1"/>
                </p:cNvSpPr>
                <p:nvPr/>
              </p:nvSpPr>
              <p:spPr bwMode="auto">
                <a:xfrm>
                  <a:off x="1862" y="3031"/>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96" name="Freeform 225">
                  <a:extLst>
                    <a:ext uri="{FF2B5EF4-FFF2-40B4-BE49-F238E27FC236}">
                      <a16:creationId xmlns:a16="http://schemas.microsoft.com/office/drawing/2014/main" id="{29948602-44FD-CE88-2065-861BA8B1EAFC}"/>
                    </a:ext>
                  </a:extLst>
                </p:cNvPr>
                <p:cNvSpPr>
                  <a:spLocks/>
                </p:cNvSpPr>
                <p:nvPr/>
              </p:nvSpPr>
              <p:spPr bwMode="auto">
                <a:xfrm>
                  <a:off x="1913" y="3006"/>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7" name="Freeform 226">
                  <a:extLst>
                    <a:ext uri="{FF2B5EF4-FFF2-40B4-BE49-F238E27FC236}">
                      <a16:creationId xmlns:a16="http://schemas.microsoft.com/office/drawing/2014/main" id="{CA331994-586A-01B3-52C0-50DE2CADD23C}"/>
                    </a:ext>
                  </a:extLst>
                </p:cNvPr>
                <p:cNvSpPr>
                  <a:spLocks noEditPoints="1"/>
                </p:cNvSpPr>
                <p:nvPr/>
              </p:nvSpPr>
              <p:spPr bwMode="auto">
                <a:xfrm>
                  <a:off x="1911" y="300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98" name="Freeform 227">
                  <a:extLst>
                    <a:ext uri="{FF2B5EF4-FFF2-40B4-BE49-F238E27FC236}">
                      <a16:creationId xmlns:a16="http://schemas.microsoft.com/office/drawing/2014/main" id="{4B2FD59D-6021-3678-5DFC-1AC9EE273A53}"/>
                    </a:ext>
                  </a:extLst>
                </p:cNvPr>
                <p:cNvSpPr>
                  <a:spLocks/>
                </p:cNvSpPr>
                <p:nvPr/>
              </p:nvSpPr>
              <p:spPr bwMode="auto">
                <a:xfrm>
                  <a:off x="1962" y="2985"/>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9" name="Freeform 228">
                  <a:extLst>
                    <a:ext uri="{FF2B5EF4-FFF2-40B4-BE49-F238E27FC236}">
                      <a16:creationId xmlns:a16="http://schemas.microsoft.com/office/drawing/2014/main" id="{13D3AF95-4330-384B-AE96-ECB16E01A62D}"/>
                    </a:ext>
                  </a:extLst>
                </p:cNvPr>
                <p:cNvSpPr>
                  <a:spLocks noEditPoints="1"/>
                </p:cNvSpPr>
                <p:nvPr/>
              </p:nvSpPr>
              <p:spPr bwMode="auto">
                <a:xfrm>
                  <a:off x="1960" y="2983"/>
                  <a:ext cx="45"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00" name="Freeform 229">
                  <a:extLst>
                    <a:ext uri="{FF2B5EF4-FFF2-40B4-BE49-F238E27FC236}">
                      <a16:creationId xmlns:a16="http://schemas.microsoft.com/office/drawing/2014/main" id="{EF3BC061-8367-CE52-3F8F-7639ABC8ABC2}"/>
                    </a:ext>
                  </a:extLst>
                </p:cNvPr>
                <p:cNvSpPr>
                  <a:spLocks/>
                </p:cNvSpPr>
                <p:nvPr/>
              </p:nvSpPr>
              <p:spPr bwMode="auto">
                <a:xfrm>
                  <a:off x="2011" y="2969"/>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1" name="Freeform 230">
                  <a:extLst>
                    <a:ext uri="{FF2B5EF4-FFF2-40B4-BE49-F238E27FC236}">
                      <a16:creationId xmlns:a16="http://schemas.microsoft.com/office/drawing/2014/main" id="{28BFB478-D6AF-67EC-E8C3-98F839D68AC4}"/>
                    </a:ext>
                  </a:extLst>
                </p:cNvPr>
                <p:cNvSpPr>
                  <a:spLocks noEditPoints="1"/>
                </p:cNvSpPr>
                <p:nvPr/>
              </p:nvSpPr>
              <p:spPr bwMode="auto">
                <a:xfrm>
                  <a:off x="2009" y="2967"/>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02" name="Freeform 231">
                  <a:extLst>
                    <a:ext uri="{FF2B5EF4-FFF2-40B4-BE49-F238E27FC236}">
                      <a16:creationId xmlns:a16="http://schemas.microsoft.com/office/drawing/2014/main" id="{EADB6126-D558-AA9C-BB80-D71451D476C2}"/>
                    </a:ext>
                  </a:extLst>
                </p:cNvPr>
                <p:cNvSpPr>
                  <a:spLocks/>
                </p:cNvSpPr>
                <p:nvPr/>
              </p:nvSpPr>
              <p:spPr bwMode="auto">
                <a:xfrm>
                  <a:off x="2060" y="2959"/>
                  <a:ext cx="41" cy="41"/>
                </a:xfrm>
                <a:custGeom>
                  <a:avLst/>
                  <a:gdLst>
                    <a:gd name="T0" fmla="*/ 21 w 41"/>
                    <a:gd name="T1" fmla="*/ 0 h 41"/>
                    <a:gd name="T2" fmla="*/ 41 w 41"/>
                    <a:gd name="T3" fmla="*/ 20 h 41"/>
                    <a:gd name="T4" fmla="*/ 21 w 41"/>
                    <a:gd name="T5" fmla="*/ 41 h 41"/>
                    <a:gd name="T6" fmla="*/ 0 w 41"/>
                    <a:gd name="T7" fmla="*/ 20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3" name="Freeform 232">
                  <a:extLst>
                    <a:ext uri="{FF2B5EF4-FFF2-40B4-BE49-F238E27FC236}">
                      <a16:creationId xmlns:a16="http://schemas.microsoft.com/office/drawing/2014/main" id="{6B4EEE2A-7274-F0EF-97EA-6A1607E1120F}"/>
                    </a:ext>
                  </a:extLst>
                </p:cNvPr>
                <p:cNvSpPr>
                  <a:spLocks noEditPoints="1"/>
                </p:cNvSpPr>
                <p:nvPr/>
              </p:nvSpPr>
              <p:spPr bwMode="auto">
                <a:xfrm>
                  <a:off x="2058" y="2956"/>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04" name="Freeform 233">
                  <a:extLst>
                    <a:ext uri="{FF2B5EF4-FFF2-40B4-BE49-F238E27FC236}">
                      <a16:creationId xmlns:a16="http://schemas.microsoft.com/office/drawing/2014/main" id="{544D6419-B2B3-1BEB-BD77-60EFA722F215}"/>
                    </a:ext>
                  </a:extLst>
                </p:cNvPr>
                <p:cNvSpPr>
                  <a:spLocks/>
                </p:cNvSpPr>
                <p:nvPr/>
              </p:nvSpPr>
              <p:spPr bwMode="auto">
                <a:xfrm>
                  <a:off x="2109" y="2951"/>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5" name="Freeform 234">
                  <a:extLst>
                    <a:ext uri="{FF2B5EF4-FFF2-40B4-BE49-F238E27FC236}">
                      <a16:creationId xmlns:a16="http://schemas.microsoft.com/office/drawing/2014/main" id="{89E571AC-EF37-C92C-4235-811F9C66BB6D}"/>
                    </a:ext>
                  </a:extLst>
                </p:cNvPr>
                <p:cNvSpPr>
                  <a:spLocks noEditPoints="1"/>
                </p:cNvSpPr>
                <p:nvPr/>
              </p:nvSpPr>
              <p:spPr bwMode="auto">
                <a:xfrm>
                  <a:off x="2107" y="294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06" name="Freeform 235">
                  <a:extLst>
                    <a:ext uri="{FF2B5EF4-FFF2-40B4-BE49-F238E27FC236}">
                      <a16:creationId xmlns:a16="http://schemas.microsoft.com/office/drawing/2014/main" id="{D91D8BD7-94E2-7FAD-19A5-2B0498A032ED}"/>
                    </a:ext>
                  </a:extLst>
                </p:cNvPr>
                <p:cNvSpPr>
                  <a:spLocks/>
                </p:cNvSpPr>
                <p:nvPr/>
              </p:nvSpPr>
              <p:spPr bwMode="auto">
                <a:xfrm>
                  <a:off x="2159" y="2947"/>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7" name="Freeform 236">
                  <a:extLst>
                    <a:ext uri="{FF2B5EF4-FFF2-40B4-BE49-F238E27FC236}">
                      <a16:creationId xmlns:a16="http://schemas.microsoft.com/office/drawing/2014/main" id="{464F7C54-F4A5-2134-086D-6AD4A53553E1}"/>
                    </a:ext>
                  </a:extLst>
                </p:cNvPr>
                <p:cNvSpPr>
                  <a:spLocks noEditPoints="1"/>
                </p:cNvSpPr>
                <p:nvPr/>
              </p:nvSpPr>
              <p:spPr bwMode="auto">
                <a:xfrm>
                  <a:off x="2156" y="2945"/>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08" name="Freeform 237">
                  <a:extLst>
                    <a:ext uri="{FF2B5EF4-FFF2-40B4-BE49-F238E27FC236}">
                      <a16:creationId xmlns:a16="http://schemas.microsoft.com/office/drawing/2014/main" id="{04A7AE28-CC31-EAC6-FC1F-ED72026FD6EE}"/>
                    </a:ext>
                  </a:extLst>
                </p:cNvPr>
                <p:cNvSpPr>
                  <a:spLocks/>
                </p:cNvSpPr>
                <p:nvPr/>
              </p:nvSpPr>
              <p:spPr bwMode="auto">
                <a:xfrm>
                  <a:off x="2208" y="2944"/>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9" name="Freeform 238">
                  <a:extLst>
                    <a:ext uri="{FF2B5EF4-FFF2-40B4-BE49-F238E27FC236}">
                      <a16:creationId xmlns:a16="http://schemas.microsoft.com/office/drawing/2014/main" id="{0D74FE35-2113-B0B5-186D-F9F3A640B34D}"/>
                    </a:ext>
                  </a:extLst>
                </p:cNvPr>
                <p:cNvSpPr>
                  <a:spLocks noEditPoints="1"/>
                </p:cNvSpPr>
                <p:nvPr/>
              </p:nvSpPr>
              <p:spPr bwMode="auto">
                <a:xfrm>
                  <a:off x="2206" y="2942"/>
                  <a:ext cx="45"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10" name="Freeform 239">
                  <a:extLst>
                    <a:ext uri="{FF2B5EF4-FFF2-40B4-BE49-F238E27FC236}">
                      <a16:creationId xmlns:a16="http://schemas.microsoft.com/office/drawing/2014/main" id="{BFC39047-F2D5-B921-3E7E-5BF7A421466D}"/>
                    </a:ext>
                  </a:extLst>
                </p:cNvPr>
                <p:cNvSpPr>
                  <a:spLocks/>
                </p:cNvSpPr>
                <p:nvPr/>
              </p:nvSpPr>
              <p:spPr bwMode="auto">
                <a:xfrm>
                  <a:off x="2256" y="2943"/>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1" name="Freeform 240">
                  <a:extLst>
                    <a:ext uri="{FF2B5EF4-FFF2-40B4-BE49-F238E27FC236}">
                      <a16:creationId xmlns:a16="http://schemas.microsoft.com/office/drawing/2014/main" id="{EAC3052A-BC8D-4695-0F17-9B5FE4DDF150}"/>
                    </a:ext>
                  </a:extLst>
                </p:cNvPr>
                <p:cNvSpPr>
                  <a:spLocks noEditPoints="1"/>
                </p:cNvSpPr>
                <p:nvPr/>
              </p:nvSpPr>
              <p:spPr bwMode="auto">
                <a:xfrm>
                  <a:off x="2254" y="2941"/>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12" name="Freeform 241">
                  <a:extLst>
                    <a:ext uri="{FF2B5EF4-FFF2-40B4-BE49-F238E27FC236}">
                      <a16:creationId xmlns:a16="http://schemas.microsoft.com/office/drawing/2014/main" id="{267BF61A-400A-8C99-C18E-6B6B389D357C}"/>
                    </a:ext>
                  </a:extLst>
                </p:cNvPr>
                <p:cNvSpPr>
                  <a:spLocks/>
                </p:cNvSpPr>
                <p:nvPr/>
              </p:nvSpPr>
              <p:spPr bwMode="auto">
                <a:xfrm>
                  <a:off x="2305" y="2942"/>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3" name="Freeform 242">
                  <a:extLst>
                    <a:ext uri="{FF2B5EF4-FFF2-40B4-BE49-F238E27FC236}">
                      <a16:creationId xmlns:a16="http://schemas.microsoft.com/office/drawing/2014/main" id="{3F2B6312-640E-BA3F-5A14-1D2A19F46523}"/>
                    </a:ext>
                  </a:extLst>
                </p:cNvPr>
                <p:cNvSpPr>
                  <a:spLocks noEditPoints="1"/>
                </p:cNvSpPr>
                <p:nvPr/>
              </p:nvSpPr>
              <p:spPr bwMode="auto">
                <a:xfrm>
                  <a:off x="2303" y="294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14" name="Freeform 243">
                  <a:extLst>
                    <a:ext uri="{FF2B5EF4-FFF2-40B4-BE49-F238E27FC236}">
                      <a16:creationId xmlns:a16="http://schemas.microsoft.com/office/drawing/2014/main" id="{63FB2D10-DBA7-2FAD-46D1-C2CA07188A96}"/>
                    </a:ext>
                  </a:extLst>
                </p:cNvPr>
                <p:cNvSpPr>
                  <a:spLocks/>
                </p:cNvSpPr>
                <p:nvPr/>
              </p:nvSpPr>
              <p:spPr bwMode="auto">
                <a:xfrm>
                  <a:off x="2355" y="2941"/>
                  <a:ext cx="41" cy="42"/>
                </a:xfrm>
                <a:custGeom>
                  <a:avLst/>
                  <a:gdLst>
                    <a:gd name="T0" fmla="*/ 20 w 41"/>
                    <a:gd name="T1" fmla="*/ 0 h 42"/>
                    <a:gd name="T2" fmla="*/ 41 w 41"/>
                    <a:gd name="T3" fmla="*/ 21 h 42"/>
                    <a:gd name="T4" fmla="*/ 20 w 41"/>
                    <a:gd name="T5" fmla="*/ 42 h 42"/>
                    <a:gd name="T6" fmla="*/ 0 w 41"/>
                    <a:gd name="T7" fmla="*/ 21 h 42"/>
                    <a:gd name="T8" fmla="*/ 20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5" name="Freeform 244">
                  <a:extLst>
                    <a:ext uri="{FF2B5EF4-FFF2-40B4-BE49-F238E27FC236}">
                      <a16:creationId xmlns:a16="http://schemas.microsoft.com/office/drawing/2014/main" id="{FAB2E3E7-5B68-D37C-1E7F-CBCAF0E8B255}"/>
                    </a:ext>
                  </a:extLst>
                </p:cNvPr>
                <p:cNvSpPr>
                  <a:spLocks noEditPoints="1"/>
                </p:cNvSpPr>
                <p:nvPr/>
              </p:nvSpPr>
              <p:spPr bwMode="auto">
                <a:xfrm>
                  <a:off x="2352"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16" name="Freeform 245">
                  <a:extLst>
                    <a:ext uri="{FF2B5EF4-FFF2-40B4-BE49-F238E27FC236}">
                      <a16:creationId xmlns:a16="http://schemas.microsoft.com/office/drawing/2014/main" id="{5044B4CF-2CA4-3FE9-81FC-9DBBACB9D9C3}"/>
                    </a:ext>
                  </a:extLst>
                </p:cNvPr>
                <p:cNvSpPr>
                  <a:spLocks/>
                </p:cNvSpPr>
                <p:nvPr/>
              </p:nvSpPr>
              <p:spPr bwMode="auto">
                <a:xfrm>
                  <a:off x="2404" y="2941"/>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7" name="Freeform 246">
                  <a:extLst>
                    <a:ext uri="{FF2B5EF4-FFF2-40B4-BE49-F238E27FC236}">
                      <a16:creationId xmlns:a16="http://schemas.microsoft.com/office/drawing/2014/main" id="{08BFAA6D-5C66-B25F-7DA1-5E18D1F4969E}"/>
                    </a:ext>
                  </a:extLst>
                </p:cNvPr>
                <p:cNvSpPr>
                  <a:spLocks noEditPoints="1"/>
                </p:cNvSpPr>
                <p:nvPr/>
              </p:nvSpPr>
              <p:spPr bwMode="auto">
                <a:xfrm>
                  <a:off x="2402"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18" name="Freeform 247">
                  <a:extLst>
                    <a:ext uri="{FF2B5EF4-FFF2-40B4-BE49-F238E27FC236}">
                      <a16:creationId xmlns:a16="http://schemas.microsoft.com/office/drawing/2014/main" id="{E5C39113-55F2-CF3D-D292-99BE2CDE4B05}"/>
                    </a:ext>
                  </a:extLst>
                </p:cNvPr>
                <p:cNvSpPr>
                  <a:spLocks/>
                </p:cNvSpPr>
                <p:nvPr/>
              </p:nvSpPr>
              <p:spPr bwMode="auto">
                <a:xfrm>
                  <a:off x="2453" y="2941"/>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9" name="Freeform 248">
                  <a:extLst>
                    <a:ext uri="{FF2B5EF4-FFF2-40B4-BE49-F238E27FC236}">
                      <a16:creationId xmlns:a16="http://schemas.microsoft.com/office/drawing/2014/main" id="{429CBE90-E575-28DF-3056-24554D931F4C}"/>
                    </a:ext>
                  </a:extLst>
                </p:cNvPr>
                <p:cNvSpPr>
                  <a:spLocks noEditPoints="1"/>
                </p:cNvSpPr>
                <p:nvPr/>
              </p:nvSpPr>
              <p:spPr bwMode="auto">
                <a:xfrm>
                  <a:off x="2451"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20" name="Freeform 249">
                  <a:extLst>
                    <a:ext uri="{FF2B5EF4-FFF2-40B4-BE49-F238E27FC236}">
                      <a16:creationId xmlns:a16="http://schemas.microsoft.com/office/drawing/2014/main" id="{E7A3E4FF-11FE-2E7C-B200-C580E8CA8608}"/>
                    </a:ext>
                  </a:extLst>
                </p:cNvPr>
                <p:cNvSpPr>
                  <a:spLocks/>
                </p:cNvSpPr>
                <p:nvPr/>
              </p:nvSpPr>
              <p:spPr bwMode="auto">
                <a:xfrm>
                  <a:off x="2502" y="2941"/>
                  <a:ext cx="41" cy="42"/>
                </a:xfrm>
                <a:custGeom>
                  <a:avLst/>
                  <a:gdLst>
                    <a:gd name="T0" fmla="*/ 20 w 41"/>
                    <a:gd name="T1" fmla="*/ 0 h 42"/>
                    <a:gd name="T2" fmla="*/ 41 w 41"/>
                    <a:gd name="T3" fmla="*/ 21 h 42"/>
                    <a:gd name="T4" fmla="*/ 20 w 41"/>
                    <a:gd name="T5" fmla="*/ 42 h 42"/>
                    <a:gd name="T6" fmla="*/ 0 w 41"/>
                    <a:gd name="T7" fmla="*/ 21 h 42"/>
                    <a:gd name="T8" fmla="*/ 20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1" name="Freeform 250">
                  <a:extLst>
                    <a:ext uri="{FF2B5EF4-FFF2-40B4-BE49-F238E27FC236}">
                      <a16:creationId xmlns:a16="http://schemas.microsoft.com/office/drawing/2014/main" id="{8592AAED-B6CE-A5B3-BB52-F9494DE2CA78}"/>
                    </a:ext>
                  </a:extLst>
                </p:cNvPr>
                <p:cNvSpPr>
                  <a:spLocks noEditPoints="1"/>
                </p:cNvSpPr>
                <p:nvPr/>
              </p:nvSpPr>
              <p:spPr bwMode="auto">
                <a:xfrm>
                  <a:off x="2499"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22" name="Freeform 251">
                  <a:extLst>
                    <a:ext uri="{FF2B5EF4-FFF2-40B4-BE49-F238E27FC236}">
                      <a16:creationId xmlns:a16="http://schemas.microsoft.com/office/drawing/2014/main" id="{1B750095-5B28-DF21-BBFC-B192925BA545}"/>
                    </a:ext>
                  </a:extLst>
                </p:cNvPr>
                <p:cNvSpPr>
                  <a:spLocks/>
                </p:cNvSpPr>
                <p:nvPr/>
              </p:nvSpPr>
              <p:spPr bwMode="auto">
                <a:xfrm>
                  <a:off x="2551" y="2941"/>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3" name="Freeform 252">
                  <a:extLst>
                    <a:ext uri="{FF2B5EF4-FFF2-40B4-BE49-F238E27FC236}">
                      <a16:creationId xmlns:a16="http://schemas.microsoft.com/office/drawing/2014/main" id="{CE1D568C-6E48-4119-CF12-39EE81AC69F5}"/>
                    </a:ext>
                  </a:extLst>
                </p:cNvPr>
                <p:cNvSpPr>
                  <a:spLocks noEditPoints="1"/>
                </p:cNvSpPr>
                <p:nvPr/>
              </p:nvSpPr>
              <p:spPr bwMode="auto">
                <a:xfrm>
                  <a:off x="2549"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24" name="Freeform 253">
                  <a:extLst>
                    <a:ext uri="{FF2B5EF4-FFF2-40B4-BE49-F238E27FC236}">
                      <a16:creationId xmlns:a16="http://schemas.microsoft.com/office/drawing/2014/main" id="{DFE2FB7E-97DE-3B76-D4A7-A7FF44233062}"/>
                    </a:ext>
                  </a:extLst>
                </p:cNvPr>
                <p:cNvSpPr>
                  <a:spLocks/>
                </p:cNvSpPr>
                <p:nvPr/>
              </p:nvSpPr>
              <p:spPr bwMode="auto">
                <a:xfrm>
                  <a:off x="2600" y="2941"/>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5" name="Freeform 254">
                  <a:extLst>
                    <a:ext uri="{FF2B5EF4-FFF2-40B4-BE49-F238E27FC236}">
                      <a16:creationId xmlns:a16="http://schemas.microsoft.com/office/drawing/2014/main" id="{6E0B8D5E-5F8A-F6AC-1267-B5E5CB9E714E}"/>
                    </a:ext>
                  </a:extLst>
                </p:cNvPr>
                <p:cNvSpPr>
                  <a:spLocks noEditPoints="1"/>
                </p:cNvSpPr>
                <p:nvPr/>
              </p:nvSpPr>
              <p:spPr bwMode="auto">
                <a:xfrm>
                  <a:off x="2598"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26" name="Freeform 255">
                  <a:extLst>
                    <a:ext uri="{FF2B5EF4-FFF2-40B4-BE49-F238E27FC236}">
                      <a16:creationId xmlns:a16="http://schemas.microsoft.com/office/drawing/2014/main" id="{84F42B3E-102B-B89C-5657-DD78BE605FF1}"/>
                    </a:ext>
                  </a:extLst>
                </p:cNvPr>
                <p:cNvSpPr>
                  <a:spLocks/>
                </p:cNvSpPr>
                <p:nvPr/>
              </p:nvSpPr>
              <p:spPr bwMode="auto">
                <a:xfrm>
                  <a:off x="2649" y="2941"/>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7" name="Freeform 256">
                  <a:extLst>
                    <a:ext uri="{FF2B5EF4-FFF2-40B4-BE49-F238E27FC236}">
                      <a16:creationId xmlns:a16="http://schemas.microsoft.com/office/drawing/2014/main" id="{83EE41B5-B43B-037B-307C-688D6566288D}"/>
                    </a:ext>
                  </a:extLst>
                </p:cNvPr>
                <p:cNvSpPr>
                  <a:spLocks noEditPoints="1"/>
                </p:cNvSpPr>
                <p:nvPr/>
              </p:nvSpPr>
              <p:spPr bwMode="auto">
                <a:xfrm>
                  <a:off x="2647"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28" name="Freeform 257">
                  <a:extLst>
                    <a:ext uri="{FF2B5EF4-FFF2-40B4-BE49-F238E27FC236}">
                      <a16:creationId xmlns:a16="http://schemas.microsoft.com/office/drawing/2014/main" id="{5A711BDE-3FD5-7A4A-01FF-CEAE9301BEF8}"/>
                    </a:ext>
                  </a:extLst>
                </p:cNvPr>
                <p:cNvSpPr>
                  <a:spLocks/>
                </p:cNvSpPr>
                <p:nvPr/>
              </p:nvSpPr>
              <p:spPr bwMode="auto">
                <a:xfrm>
                  <a:off x="2698" y="2941"/>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9" name="Freeform 258">
                  <a:extLst>
                    <a:ext uri="{FF2B5EF4-FFF2-40B4-BE49-F238E27FC236}">
                      <a16:creationId xmlns:a16="http://schemas.microsoft.com/office/drawing/2014/main" id="{A23FB9AA-109D-3605-F8B2-0799A965B759}"/>
                    </a:ext>
                  </a:extLst>
                </p:cNvPr>
                <p:cNvSpPr>
                  <a:spLocks noEditPoints="1"/>
                </p:cNvSpPr>
                <p:nvPr/>
              </p:nvSpPr>
              <p:spPr bwMode="auto">
                <a:xfrm>
                  <a:off x="2696"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30" name="Freeform 259">
                  <a:extLst>
                    <a:ext uri="{FF2B5EF4-FFF2-40B4-BE49-F238E27FC236}">
                      <a16:creationId xmlns:a16="http://schemas.microsoft.com/office/drawing/2014/main" id="{C18D7275-AF2C-0927-31AF-99ACB7950BFE}"/>
                    </a:ext>
                  </a:extLst>
                </p:cNvPr>
                <p:cNvSpPr>
                  <a:spLocks/>
                </p:cNvSpPr>
                <p:nvPr/>
              </p:nvSpPr>
              <p:spPr bwMode="auto">
                <a:xfrm>
                  <a:off x="2748" y="2941"/>
                  <a:ext cx="41" cy="42"/>
                </a:xfrm>
                <a:custGeom>
                  <a:avLst/>
                  <a:gdLst>
                    <a:gd name="T0" fmla="*/ 20 w 41"/>
                    <a:gd name="T1" fmla="*/ 0 h 42"/>
                    <a:gd name="T2" fmla="*/ 41 w 41"/>
                    <a:gd name="T3" fmla="*/ 21 h 42"/>
                    <a:gd name="T4" fmla="*/ 20 w 41"/>
                    <a:gd name="T5" fmla="*/ 42 h 42"/>
                    <a:gd name="T6" fmla="*/ 0 w 41"/>
                    <a:gd name="T7" fmla="*/ 21 h 42"/>
                    <a:gd name="T8" fmla="*/ 20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31" name="Freeform 260">
                  <a:extLst>
                    <a:ext uri="{FF2B5EF4-FFF2-40B4-BE49-F238E27FC236}">
                      <a16:creationId xmlns:a16="http://schemas.microsoft.com/office/drawing/2014/main" id="{B0909C33-66FD-79E8-A378-5CE87045C91D}"/>
                    </a:ext>
                  </a:extLst>
                </p:cNvPr>
                <p:cNvSpPr>
                  <a:spLocks noEditPoints="1"/>
                </p:cNvSpPr>
                <p:nvPr/>
              </p:nvSpPr>
              <p:spPr bwMode="auto">
                <a:xfrm>
                  <a:off x="2745" y="2939"/>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32" name="Rectangle 261">
                  <a:extLst>
                    <a:ext uri="{FF2B5EF4-FFF2-40B4-BE49-F238E27FC236}">
                      <a16:creationId xmlns:a16="http://schemas.microsoft.com/office/drawing/2014/main" id="{800D042D-348C-DAA7-FA9E-58F0DB6FF0AA}"/>
                    </a:ext>
                  </a:extLst>
                </p:cNvPr>
                <p:cNvSpPr>
                  <a:spLocks noChangeArrowheads="1"/>
                </p:cNvSpPr>
                <p:nvPr/>
              </p:nvSpPr>
              <p:spPr bwMode="auto">
                <a:xfrm>
                  <a:off x="1186" y="3368"/>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833" name="Rectangle 262">
                  <a:extLst>
                    <a:ext uri="{FF2B5EF4-FFF2-40B4-BE49-F238E27FC236}">
                      <a16:creationId xmlns:a16="http://schemas.microsoft.com/office/drawing/2014/main" id="{FEB2CE19-EBE3-ABAF-365A-DAB689A3ADAC}"/>
                    </a:ext>
                  </a:extLst>
                </p:cNvPr>
                <p:cNvSpPr>
                  <a:spLocks noChangeArrowheads="1"/>
                </p:cNvSpPr>
                <p:nvPr/>
              </p:nvSpPr>
              <p:spPr bwMode="auto">
                <a:xfrm>
                  <a:off x="1186" y="3209"/>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5</a:t>
                  </a:r>
                  <a:endParaRPr lang="en-US" altLang="en-US" dirty="0"/>
                </a:p>
              </p:txBody>
            </p:sp>
            <p:sp>
              <p:nvSpPr>
                <p:cNvPr id="834" name="Rectangle 263">
                  <a:extLst>
                    <a:ext uri="{FF2B5EF4-FFF2-40B4-BE49-F238E27FC236}">
                      <a16:creationId xmlns:a16="http://schemas.microsoft.com/office/drawing/2014/main" id="{89FDD6D2-5871-B558-41B8-15B0B4F41A7E}"/>
                    </a:ext>
                  </a:extLst>
                </p:cNvPr>
                <p:cNvSpPr>
                  <a:spLocks noChangeArrowheads="1"/>
                </p:cNvSpPr>
                <p:nvPr/>
              </p:nvSpPr>
              <p:spPr bwMode="auto">
                <a:xfrm>
                  <a:off x="1156" y="3050"/>
                  <a:ext cx="1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835" name="Rectangle 264">
                  <a:extLst>
                    <a:ext uri="{FF2B5EF4-FFF2-40B4-BE49-F238E27FC236}">
                      <a16:creationId xmlns:a16="http://schemas.microsoft.com/office/drawing/2014/main" id="{6DDC5510-B53B-018B-496F-DD8A3BE40462}"/>
                    </a:ext>
                  </a:extLst>
                </p:cNvPr>
                <p:cNvSpPr>
                  <a:spLocks noChangeArrowheads="1"/>
                </p:cNvSpPr>
                <p:nvPr/>
              </p:nvSpPr>
              <p:spPr bwMode="auto">
                <a:xfrm>
                  <a:off x="1156" y="2891"/>
                  <a:ext cx="1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15</a:t>
                  </a:r>
                  <a:endParaRPr lang="en-US" altLang="en-US" dirty="0"/>
                </a:p>
              </p:txBody>
            </p:sp>
            <p:sp>
              <p:nvSpPr>
                <p:cNvPr id="836" name="Rectangle 265">
                  <a:extLst>
                    <a:ext uri="{FF2B5EF4-FFF2-40B4-BE49-F238E27FC236}">
                      <a16:creationId xmlns:a16="http://schemas.microsoft.com/office/drawing/2014/main" id="{5517778C-6285-720C-EF5D-1DBBD95E5207}"/>
                    </a:ext>
                  </a:extLst>
                </p:cNvPr>
                <p:cNvSpPr>
                  <a:spLocks noChangeArrowheads="1"/>
                </p:cNvSpPr>
                <p:nvPr/>
              </p:nvSpPr>
              <p:spPr bwMode="auto">
                <a:xfrm>
                  <a:off x="1281" y="3445"/>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837" name="Rectangle 266">
                  <a:extLst>
                    <a:ext uri="{FF2B5EF4-FFF2-40B4-BE49-F238E27FC236}">
                      <a16:creationId xmlns:a16="http://schemas.microsoft.com/office/drawing/2014/main" id="{83955DF9-2373-F009-D64E-D2FE4E335A93}"/>
                    </a:ext>
                  </a:extLst>
                </p:cNvPr>
                <p:cNvSpPr>
                  <a:spLocks noChangeArrowheads="1"/>
                </p:cNvSpPr>
                <p:nvPr/>
              </p:nvSpPr>
              <p:spPr bwMode="auto">
                <a:xfrm>
                  <a:off x="1379" y="3445"/>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838" name="Rectangle 267">
                  <a:extLst>
                    <a:ext uri="{FF2B5EF4-FFF2-40B4-BE49-F238E27FC236}">
                      <a16:creationId xmlns:a16="http://schemas.microsoft.com/office/drawing/2014/main" id="{F5DFEE7D-322A-CA59-0850-0DB592AA55EB}"/>
                    </a:ext>
                  </a:extLst>
                </p:cNvPr>
                <p:cNvSpPr>
                  <a:spLocks noChangeArrowheads="1"/>
                </p:cNvSpPr>
                <p:nvPr/>
              </p:nvSpPr>
              <p:spPr bwMode="auto">
                <a:xfrm>
                  <a:off x="1477" y="3445"/>
                  <a:ext cx="6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839" name="Rectangle 268">
                  <a:extLst>
                    <a:ext uri="{FF2B5EF4-FFF2-40B4-BE49-F238E27FC236}">
                      <a16:creationId xmlns:a16="http://schemas.microsoft.com/office/drawing/2014/main" id="{9CC3B434-B1DD-20A6-25A3-B34EB9526374}"/>
                    </a:ext>
                  </a:extLst>
                </p:cNvPr>
                <p:cNvSpPr>
                  <a:spLocks noChangeArrowheads="1"/>
                </p:cNvSpPr>
                <p:nvPr/>
              </p:nvSpPr>
              <p:spPr bwMode="auto">
                <a:xfrm>
                  <a:off x="1575" y="3445"/>
                  <a:ext cx="6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840" name="Rectangle 269">
                  <a:extLst>
                    <a:ext uri="{FF2B5EF4-FFF2-40B4-BE49-F238E27FC236}">
                      <a16:creationId xmlns:a16="http://schemas.microsoft.com/office/drawing/2014/main" id="{1221C4F1-A9FE-36F5-959D-0456A6EF2D1F}"/>
                    </a:ext>
                  </a:extLst>
                </p:cNvPr>
                <p:cNvSpPr>
                  <a:spLocks noChangeArrowheads="1"/>
                </p:cNvSpPr>
                <p:nvPr/>
              </p:nvSpPr>
              <p:spPr bwMode="auto">
                <a:xfrm>
                  <a:off x="1674" y="3445"/>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841" name="Rectangle 270">
                  <a:extLst>
                    <a:ext uri="{FF2B5EF4-FFF2-40B4-BE49-F238E27FC236}">
                      <a16:creationId xmlns:a16="http://schemas.microsoft.com/office/drawing/2014/main" id="{9A2C5439-A62F-A4D7-9A15-B81C457EB911}"/>
                    </a:ext>
                  </a:extLst>
                </p:cNvPr>
                <p:cNvSpPr>
                  <a:spLocks noChangeArrowheads="1"/>
                </p:cNvSpPr>
                <p:nvPr/>
              </p:nvSpPr>
              <p:spPr bwMode="auto">
                <a:xfrm>
                  <a:off x="1757"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842" name="Rectangle 271">
                  <a:extLst>
                    <a:ext uri="{FF2B5EF4-FFF2-40B4-BE49-F238E27FC236}">
                      <a16:creationId xmlns:a16="http://schemas.microsoft.com/office/drawing/2014/main" id="{F0C78260-5A19-F429-3910-1305C1810985}"/>
                    </a:ext>
                  </a:extLst>
                </p:cNvPr>
                <p:cNvSpPr>
                  <a:spLocks noChangeArrowheads="1"/>
                </p:cNvSpPr>
                <p:nvPr/>
              </p:nvSpPr>
              <p:spPr bwMode="auto">
                <a:xfrm>
                  <a:off x="1855"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843" name="Rectangle 272">
                  <a:extLst>
                    <a:ext uri="{FF2B5EF4-FFF2-40B4-BE49-F238E27FC236}">
                      <a16:creationId xmlns:a16="http://schemas.microsoft.com/office/drawing/2014/main" id="{0B936668-4FC6-E1C8-9A1A-BB15FEA6308C}"/>
                    </a:ext>
                  </a:extLst>
                </p:cNvPr>
                <p:cNvSpPr>
                  <a:spLocks noChangeArrowheads="1"/>
                </p:cNvSpPr>
                <p:nvPr/>
              </p:nvSpPr>
              <p:spPr bwMode="auto">
                <a:xfrm>
                  <a:off x="1953"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844" name="Rectangle 273">
                  <a:extLst>
                    <a:ext uri="{FF2B5EF4-FFF2-40B4-BE49-F238E27FC236}">
                      <a16:creationId xmlns:a16="http://schemas.microsoft.com/office/drawing/2014/main" id="{2A184C05-3892-1279-5864-FA83ED8474BC}"/>
                    </a:ext>
                  </a:extLst>
                </p:cNvPr>
                <p:cNvSpPr>
                  <a:spLocks noChangeArrowheads="1"/>
                </p:cNvSpPr>
                <p:nvPr/>
              </p:nvSpPr>
              <p:spPr bwMode="auto">
                <a:xfrm>
                  <a:off x="2051"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845" name="Rectangle 274">
                  <a:extLst>
                    <a:ext uri="{FF2B5EF4-FFF2-40B4-BE49-F238E27FC236}">
                      <a16:creationId xmlns:a16="http://schemas.microsoft.com/office/drawing/2014/main" id="{24D1A95C-E742-999F-A826-6015473B3A3D}"/>
                    </a:ext>
                  </a:extLst>
                </p:cNvPr>
                <p:cNvSpPr>
                  <a:spLocks noChangeArrowheads="1"/>
                </p:cNvSpPr>
                <p:nvPr/>
              </p:nvSpPr>
              <p:spPr bwMode="auto">
                <a:xfrm>
                  <a:off x="2149"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846" name="Rectangle 275">
                  <a:extLst>
                    <a:ext uri="{FF2B5EF4-FFF2-40B4-BE49-F238E27FC236}">
                      <a16:creationId xmlns:a16="http://schemas.microsoft.com/office/drawing/2014/main" id="{42E5ED99-F3AF-3244-2B7E-5844C20F957C}"/>
                    </a:ext>
                  </a:extLst>
                </p:cNvPr>
                <p:cNvSpPr>
                  <a:spLocks noChangeArrowheads="1"/>
                </p:cNvSpPr>
                <p:nvPr/>
              </p:nvSpPr>
              <p:spPr bwMode="auto">
                <a:xfrm>
                  <a:off x="2248" y="3445"/>
                  <a:ext cx="99"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847" name="Rectangle 276">
                  <a:extLst>
                    <a:ext uri="{FF2B5EF4-FFF2-40B4-BE49-F238E27FC236}">
                      <a16:creationId xmlns:a16="http://schemas.microsoft.com/office/drawing/2014/main" id="{8C499744-A2F5-8ABF-A722-112A63BFFECD}"/>
                    </a:ext>
                  </a:extLst>
                </p:cNvPr>
                <p:cNvSpPr>
                  <a:spLocks noChangeArrowheads="1"/>
                </p:cNvSpPr>
                <p:nvPr/>
              </p:nvSpPr>
              <p:spPr bwMode="auto">
                <a:xfrm>
                  <a:off x="2346"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848" name="Rectangle 277">
                  <a:extLst>
                    <a:ext uri="{FF2B5EF4-FFF2-40B4-BE49-F238E27FC236}">
                      <a16:creationId xmlns:a16="http://schemas.microsoft.com/office/drawing/2014/main" id="{3E5609D7-051C-AB75-844F-9149136302C8}"/>
                    </a:ext>
                  </a:extLst>
                </p:cNvPr>
                <p:cNvSpPr>
                  <a:spLocks noChangeArrowheads="1"/>
                </p:cNvSpPr>
                <p:nvPr/>
              </p:nvSpPr>
              <p:spPr bwMode="auto">
                <a:xfrm>
                  <a:off x="2444"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849" name="Rectangle 278">
                  <a:extLst>
                    <a:ext uri="{FF2B5EF4-FFF2-40B4-BE49-F238E27FC236}">
                      <a16:creationId xmlns:a16="http://schemas.microsoft.com/office/drawing/2014/main" id="{911710F2-B9AD-27EE-6B6C-6E0E3D4AF44A}"/>
                    </a:ext>
                  </a:extLst>
                </p:cNvPr>
                <p:cNvSpPr>
                  <a:spLocks noChangeArrowheads="1"/>
                </p:cNvSpPr>
                <p:nvPr/>
              </p:nvSpPr>
              <p:spPr bwMode="auto">
                <a:xfrm>
                  <a:off x="2542"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850" name="Rectangle 279">
                  <a:extLst>
                    <a:ext uri="{FF2B5EF4-FFF2-40B4-BE49-F238E27FC236}">
                      <a16:creationId xmlns:a16="http://schemas.microsoft.com/office/drawing/2014/main" id="{3FB72725-5C28-B1C8-F95F-BC43969DD75E}"/>
                    </a:ext>
                  </a:extLst>
                </p:cNvPr>
                <p:cNvSpPr>
                  <a:spLocks noChangeArrowheads="1"/>
                </p:cNvSpPr>
                <p:nvPr/>
              </p:nvSpPr>
              <p:spPr bwMode="auto">
                <a:xfrm>
                  <a:off x="2640"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851" name="Rectangle 280">
                  <a:extLst>
                    <a:ext uri="{FF2B5EF4-FFF2-40B4-BE49-F238E27FC236}">
                      <a16:creationId xmlns:a16="http://schemas.microsoft.com/office/drawing/2014/main" id="{D6A2AE81-4326-DCE2-5FFC-52CFA27F3266}"/>
                    </a:ext>
                  </a:extLst>
                </p:cNvPr>
                <p:cNvSpPr>
                  <a:spLocks noChangeArrowheads="1"/>
                </p:cNvSpPr>
                <p:nvPr/>
              </p:nvSpPr>
              <p:spPr bwMode="auto">
                <a:xfrm>
                  <a:off x="2738" y="3445"/>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852" name="Rectangle 281">
                  <a:extLst>
                    <a:ext uri="{FF2B5EF4-FFF2-40B4-BE49-F238E27FC236}">
                      <a16:creationId xmlns:a16="http://schemas.microsoft.com/office/drawing/2014/main" id="{5468CC0F-4C75-A58D-8A8E-37EF09E4FBC2}"/>
                    </a:ext>
                  </a:extLst>
                </p:cNvPr>
                <p:cNvSpPr>
                  <a:spLocks noChangeArrowheads="1"/>
                </p:cNvSpPr>
                <p:nvPr/>
              </p:nvSpPr>
              <p:spPr bwMode="auto">
                <a:xfrm>
                  <a:off x="1624" y="2726"/>
                  <a:ext cx="825"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S Shaped Return</a:t>
                  </a:r>
                  <a:endParaRPr lang="en-US" altLang="en-US" dirty="0"/>
                </a:p>
              </p:txBody>
            </p:sp>
            <p:sp>
              <p:nvSpPr>
                <p:cNvPr id="853" name="Freeform 282">
                  <a:extLst>
                    <a:ext uri="{FF2B5EF4-FFF2-40B4-BE49-F238E27FC236}">
                      <a16:creationId xmlns:a16="http://schemas.microsoft.com/office/drawing/2014/main" id="{341ABB81-FDD3-6908-5C33-B96216FE8F9D}"/>
                    </a:ext>
                  </a:extLst>
                </p:cNvPr>
                <p:cNvSpPr>
                  <a:spLocks noEditPoints="1"/>
                </p:cNvSpPr>
                <p:nvPr/>
              </p:nvSpPr>
              <p:spPr bwMode="auto">
                <a:xfrm>
                  <a:off x="1115" y="2679"/>
                  <a:ext cx="1748" cy="878"/>
                </a:xfrm>
                <a:custGeom>
                  <a:avLst/>
                  <a:gdLst>
                    <a:gd name="T0" fmla="*/ 0 w 19608"/>
                    <a:gd name="T1" fmla="*/ 0 h 9872"/>
                    <a:gd name="T2" fmla="*/ 0 w 19608"/>
                    <a:gd name="T3" fmla="*/ 0 h 9872"/>
                    <a:gd name="T4" fmla="*/ 0 w 19608"/>
                    <a:gd name="T5" fmla="*/ 0 h 9872"/>
                    <a:gd name="T6" fmla="*/ 0 w 19608"/>
                    <a:gd name="T7" fmla="*/ 0 h 9872"/>
                    <a:gd name="T8" fmla="*/ 0 w 19608"/>
                    <a:gd name="T9" fmla="*/ 0 h 9872"/>
                    <a:gd name="T10" fmla="*/ 0 w 19608"/>
                    <a:gd name="T11" fmla="*/ 0 h 9872"/>
                    <a:gd name="T12" fmla="*/ 0 w 19608"/>
                    <a:gd name="T13" fmla="*/ 0 h 9872"/>
                    <a:gd name="T14" fmla="*/ 0 w 19608"/>
                    <a:gd name="T15" fmla="*/ 0 h 9872"/>
                    <a:gd name="T16" fmla="*/ 0 w 19608"/>
                    <a:gd name="T17" fmla="*/ 0 h 9872"/>
                    <a:gd name="T18" fmla="*/ 0 w 19608"/>
                    <a:gd name="T19" fmla="*/ 0 h 9872"/>
                    <a:gd name="T20" fmla="*/ 0 w 19608"/>
                    <a:gd name="T21" fmla="*/ 0 h 9872"/>
                    <a:gd name="T22" fmla="*/ 0 w 19608"/>
                    <a:gd name="T23" fmla="*/ 0 h 9872"/>
                    <a:gd name="T24" fmla="*/ 0 w 19608"/>
                    <a:gd name="T25" fmla="*/ 0 h 9872"/>
                    <a:gd name="T26" fmla="*/ 0 w 19608"/>
                    <a:gd name="T27" fmla="*/ 0 h 9872"/>
                    <a:gd name="T28" fmla="*/ 0 w 19608"/>
                    <a:gd name="T29" fmla="*/ 0 h 9872"/>
                    <a:gd name="T30" fmla="*/ 0 w 19608"/>
                    <a:gd name="T31" fmla="*/ 0 h 9872"/>
                    <a:gd name="T32" fmla="*/ 0 w 19608"/>
                    <a:gd name="T33" fmla="*/ 0 h 9872"/>
                    <a:gd name="T34" fmla="*/ 0 w 19608"/>
                    <a:gd name="T35" fmla="*/ 0 h 98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608" h="9872">
                      <a:moveTo>
                        <a:pt x="0" y="24"/>
                      </a:moveTo>
                      <a:cubicBezTo>
                        <a:pt x="0" y="11"/>
                        <a:pt x="11" y="0"/>
                        <a:pt x="24" y="0"/>
                      </a:cubicBezTo>
                      <a:lnTo>
                        <a:pt x="19584" y="0"/>
                      </a:lnTo>
                      <a:cubicBezTo>
                        <a:pt x="19598" y="0"/>
                        <a:pt x="19608" y="11"/>
                        <a:pt x="19608" y="24"/>
                      </a:cubicBezTo>
                      <a:lnTo>
                        <a:pt x="19608" y="9848"/>
                      </a:lnTo>
                      <a:cubicBezTo>
                        <a:pt x="19608" y="9862"/>
                        <a:pt x="19598" y="9872"/>
                        <a:pt x="19584" y="9872"/>
                      </a:cubicBezTo>
                      <a:lnTo>
                        <a:pt x="24" y="9872"/>
                      </a:lnTo>
                      <a:cubicBezTo>
                        <a:pt x="11" y="9872"/>
                        <a:pt x="0" y="9862"/>
                        <a:pt x="0" y="9848"/>
                      </a:cubicBezTo>
                      <a:lnTo>
                        <a:pt x="0" y="24"/>
                      </a:lnTo>
                      <a:close/>
                      <a:moveTo>
                        <a:pt x="48" y="9848"/>
                      </a:moveTo>
                      <a:lnTo>
                        <a:pt x="24" y="9824"/>
                      </a:lnTo>
                      <a:lnTo>
                        <a:pt x="19584" y="9824"/>
                      </a:lnTo>
                      <a:lnTo>
                        <a:pt x="19560" y="9848"/>
                      </a:lnTo>
                      <a:lnTo>
                        <a:pt x="19560" y="24"/>
                      </a:lnTo>
                      <a:lnTo>
                        <a:pt x="19584" y="48"/>
                      </a:lnTo>
                      <a:lnTo>
                        <a:pt x="24" y="48"/>
                      </a:lnTo>
                      <a:lnTo>
                        <a:pt x="48" y="24"/>
                      </a:lnTo>
                      <a:lnTo>
                        <a:pt x="48" y="9848"/>
                      </a:lnTo>
                      <a:close/>
                    </a:path>
                  </a:pathLst>
                </a:custGeom>
                <a:solidFill>
                  <a:schemeClr val="bg1"/>
                </a:solidFill>
                <a:ln w="0" cap="flat">
                  <a:noFill/>
                  <a:prstDash val="solid"/>
                  <a:round/>
                  <a:headEnd/>
                  <a:tailEnd/>
                </a:ln>
              </p:spPr>
              <p:txBody>
                <a:bodyPr/>
                <a:lstStyle/>
                <a:p>
                  <a:endParaRPr lang="en-US" dirty="0"/>
                </a:p>
              </p:txBody>
            </p:sp>
            <p:sp>
              <p:nvSpPr>
                <p:cNvPr id="854" name="Rectangle 283">
                  <a:extLst>
                    <a:ext uri="{FF2B5EF4-FFF2-40B4-BE49-F238E27FC236}">
                      <a16:creationId xmlns:a16="http://schemas.microsoft.com/office/drawing/2014/main" id="{23FEFDBA-C1FC-6AAC-26C0-663D27002A39}"/>
                    </a:ext>
                  </a:extLst>
                </p:cNvPr>
                <p:cNvSpPr>
                  <a:spLocks noChangeArrowheads="1"/>
                </p:cNvSpPr>
                <p:nvPr/>
              </p:nvSpPr>
              <p:spPr bwMode="auto">
                <a:xfrm>
                  <a:off x="2895" y="1765"/>
                  <a:ext cx="1738" cy="875"/>
                </a:xfrm>
                <a:prstGeom prst="rect">
                  <a:avLst/>
                </a:prstGeom>
                <a:solidFill>
                  <a:srgbClr val="FFFFFF"/>
                </a:solidFill>
                <a:ln w="9525">
                  <a:solidFill>
                    <a:srgbClr val="000000"/>
                  </a:solid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855" name="Rectangle 284">
                  <a:extLst>
                    <a:ext uri="{FF2B5EF4-FFF2-40B4-BE49-F238E27FC236}">
                      <a16:creationId xmlns:a16="http://schemas.microsoft.com/office/drawing/2014/main" id="{AABC32F7-7C79-7850-6A32-CD8213AB20D4}"/>
                    </a:ext>
                  </a:extLst>
                </p:cNvPr>
                <p:cNvSpPr>
                  <a:spLocks noChangeArrowheads="1"/>
                </p:cNvSpPr>
                <p:nvPr/>
              </p:nvSpPr>
              <p:spPr bwMode="auto">
                <a:xfrm>
                  <a:off x="3049" y="2015"/>
                  <a:ext cx="1516" cy="4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856" name="Freeform 285">
                  <a:extLst>
                    <a:ext uri="{FF2B5EF4-FFF2-40B4-BE49-F238E27FC236}">
                      <a16:creationId xmlns:a16="http://schemas.microsoft.com/office/drawing/2014/main" id="{5C71C774-D6B4-E3DA-4E8B-CB986C060032}"/>
                    </a:ext>
                  </a:extLst>
                </p:cNvPr>
                <p:cNvSpPr>
                  <a:spLocks noEditPoints="1"/>
                </p:cNvSpPr>
                <p:nvPr/>
              </p:nvSpPr>
              <p:spPr bwMode="auto">
                <a:xfrm>
                  <a:off x="3049" y="2013"/>
                  <a:ext cx="1516" cy="321"/>
                </a:xfrm>
                <a:custGeom>
                  <a:avLst/>
                  <a:gdLst>
                    <a:gd name="T0" fmla="*/ 0 w 1516"/>
                    <a:gd name="T1" fmla="*/ 317 h 321"/>
                    <a:gd name="T2" fmla="*/ 1516 w 1516"/>
                    <a:gd name="T3" fmla="*/ 317 h 321"/>
                    <a:gd name="T4" fmla="*/ 1516 w 1516"/>
                    <a:gd name="T5" fmla="*/ 321 h 321"/>
                    <a:gd name="T6" fmla="*/ 0 w 1516"/>
                    <a:gd name="T7" fmla="*/ 321 h 321"/>
                    <a:gd name="T8" fmla="*/ 0 w 1516"/>
                    <a:gd name="T9" fmla="*/ 317 h 321"/>
                    <a:gd name="T10" fmla="*/ 0 w 1516"/>
                    <a:gd name="T11" fmla="*/ 159 h 321"/>
                    <a:gd name="T12" fmla="*/ 1516 w 1516"/>
                    <a:gd name="T13" fmla="*/ 159 h 321"/>
                    <a:gd name="T14" fmla="*/ 1516 w 1516"/>
                    <a:gd name="T15" fmla="*/ 163 h 321"/>
                    <a:gd name="T16" fmla="*/ 0 w 1516"/>
                    <a:gd name="T17" fmla="*/ 163 h 321"/>
                    <a:gd name="T18" fmla="*/ 0 w 1516"/>
                    <a:gd name="T19" fmla="*/ 159 h 321"/>
                    <a:gd name="T20" fmla="*/ 0 w 1516"/>
                    <a:gd name="T21" fmla="*/ 0 h 321"/>
                    <a:gd name="T22" fmla="*/ 1516 w 1516"/>
                    <a:gd name="T23" fmla="*/ 0 h 321"/>
                    <a:gd name="T24" fmla="*/ 1516 w 1516"/>
                    <a:gd name="T25" fmla="*/ 4 h 321"/>
                    <a:gd name="T26" fmla="*/ 0 w 1516"/>
                    <a:gd name="T27" fmla="*/ 4 h 321"/>
                    <a:gd name="T28" fmla="*/ 0 w 1516"/>
                    <a:gd name="T29" fmla="*/ 0 h 3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16" h="321">
                      <a:moveTo>
                        <a:pt x="0" y="317"/>
                      </a:moveTo>
                      <a:lnTo>
                        <a:pt x="1516" y="317"/>
                      </a:lnTo>
                      <a:lnTo>
                        <a:pt x="1516" y="321"/>
                      </a:lnTo>
                      <a:lnTo>
                        <a:pt x="0" y="321"/>
                      </a:lnTo>
                      <a:lnTo>
                        <a:pt x="0" y="317"/>
                      </a:lnTo>
                      <a:close/>
                      <a:moveTo>
                        <a:pt x="0" y="159"/>
                      </a:moveTo>
                      <a:lnTo>
                        <a:pt x="1516" y="159"/>
                      </a:lnTo>
                      <a:lnTo>
                        <a:pt x="1516" y="163"/>
                      </a:lnTo>
                      <a:lnTo>
                        <a:pt x="0" y="163"/>
                      </a:lnTo>
                      <a:lnTo>
                        <a:pt x="0" y="159"/>
                      </a:lnTo>
                      <a:close/>
                      <a:moveTo>
                        <a:pt x="0" y="0"/>
                      </a:moveTo>
                      <a:lnTo>
                        <a:pt x="1516" y="0"/>
                      </a:lnTo>
                      <a:lnTo>
                        <a:pt x="1516" y="4"/>
                      </a:lnTo>
                      <a:lnTo>
                        <a:pt x="0" y="4"/>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857" name="Rectangle 286">
                  <a:extLst>
                    <a:ext uri="{FF2B5EF4-FFF2-40B4-BE49-F238E27FC236}">
                      <a16:creationId xmlns:a16="http://schemas.microsoft.com/office/drawing/2014/main" id="{BCDCA7F1-9F5C-CC2C-91A2-40B82F21EDB6}"/>
                    </a:ext>
                  </a:extLst>
                </p:cNvPr>
                <p:cNvSpPr>
                  <a:spLocks noChangeArrowheads="1"/>
                </p:cNvSpPr>
                <p:nvPr/>
              </p:nvSpPr>
              <p:spPr bwMode="auto">
                <a:xfrm>
                  <a:off x="3046" y="2015"/>
                  <a:ext cx="5" cy="476"/>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858" name="Freeform 287">
                  <a:extLst>
                    <a:ext uri="{FF2B5EF4-FFF2-40B4-BE49-F238E27FC236}">
                      <a16:creationId xmlns:a16="http://schemas.microsoft.com/office/drawing/2014/main" id="{9639C3B4-9F84-EDCA-0635-8A53C6781D56}"/>
                    </a:ext>
                  </a:extLst>
                </p:cNvPr>
                <p:cNvSpPr>
                  <a:spLocks noEditPoints="1"/>
                </p:cNvSpPr>
                <p:nvPr/>
              </p:nvSpPr>
              <p:spPr bwMode="auto">
                <a:xfrm>
                  <a:off x="3030" y="2013"/>
                  <a:ext cx="19" cy="480"/>
                </a:xfrm>
                <a:custGeom>
                  <a:avLst/>
                  <a:gdLst>
                    <a:gd name="T0" fmla="*/ 0 w 19"/>
                    <a:gd name="T1" fmla="*/ 476 h 480"/>
                    <a:gd name="T2" fmla="*/ 19 w 19"/>
                    <a:gd name="T3" fmla="*/ 476 h 480"/>
                    <a:gd name="T4" fmla="*/ 19 w 19"/>
                    <a:gd name="T5" fmla="*/ 480 h 480"/>
                    <a:gd name="T6" fmla="*/ 0 w 19"/>
                    <a:gd name="T7" fmla="*/ 480 h 480"/>
                    <a:gd name="T8" fmla="*/ 0 w 19"/>
                    <a:gd name="T9" fmla="*/ 476 h 480"/>
                    <a:gd name="T10" fmla="*/ 0 w 19"/>
                    <a:gd name="T11" fmla="*/ 317 h 480"/>
                    <a:gd name="T12" fmla="*/ 19 w 19"/>
                    <a:gd name="T13" fmla="*/ 317 h 480"/>
                    <a:gd name="T14" fmla="*/ 19 w 19"/>
                    <a:gd name="T15" fmla="*/ 321 h 480"/>
                    <a:gd name="T16" fmla="*/ 0 w 19"/>
                    <a:gd name="T17" fmla="*/ 321 h 480"/>
                    <a:gd name="T18" fmla="*/ 0 w 19"/>
                    <a:gd name="T19" fmla="*/ 317 h 480"/>
                    <a:gd name="T20" fmla="*/ 0 w 19"/>
                    <a:gd name="T21" fmla="*/ 159 h 480"/>
                    <a:gd name="T22" fmla="*/ 19 w 19"/>
                    <a:gd name="T23" fmla="*/ 159 h 480"/>
                    <a:gd name="T24" fmla="*/ 19 w 19"/>
                    <a:gd name="T25" fmla="*/ 163 h 480"/>
                    <a:gd name="T26" fmla="*/ 0 w 19"/>
                    <a:gd name="T27" fmla="*/ 163 h 480"/>
                    <a:gd name="T28" fmla="*/ 0 w 19"/>
                    <a:gd name="T29" fmla="*/ 159 h 480"/>
                    <a:gd name="T30" fmla="*/ 0 w 19"/>
                    <a:gd name="T31" fmla="*/ 0 h 480"/>
                    <a:gd name="T32" fmla="*/ 19 w 19"/>
                    <a:gd name="T33" fmla="*/ 0 h 480"/>
                    <a:gd name="T34" fmla="*/ 19 w 19"/>
                    <a:gd name="T35" fmla="*/ 4 h 480"/>
                    <a:gd name="T36" fmla="*/ 0 w 19"/>
                    <a:gd name="T37" fmla="*/ 4 h 480"/>
                    <a:gd name="T38" fmla="*/ 0 w 19"/>
                    <a:gd name="T39" fmla="*/ 0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9" h="480">
                      <a:moveTo>
                        <a:pt x="0" y="476"/>
                      </a:moveTo>
                      <a:lnTo>
                        <a:pt x="19" y="476"/>
                      </a:lnTo>
                      <a:lnTo>
                        <a:pt x="19" y="480"/>
                      </a:lnTo>
                      <a:lnTo>
                        <a:pt x="0" y="480"/>
                      </a:lnTo>
                      <a:lnTo>
                        <a:pt x="0" y="476"/>
                      </a:lnTo>
                      <a:close/>
                      <a:moveTo>
                        <a:pt x="0" y="317"/>
                      </a:moveTo>
                      <a:lnTo>
                        <a:pt x="19" y="317"/>
                      </a:lnTo>
                      <a:lnTo>
                        <a:pt x="19" y="321"/>
                      </a:lnTo>
                      <a:lnTo>
                        <a:pt x="0" y="321"/>
                      </a:lnTo>
                      <a:lnTo>
                        <a:pt x="0" y="317"/>
                      </a:lnTo>
                      <a:close/>
                      <a:moveTo>
                        <a:pt x="0" y="159"/>
                      </a:moveTo>
                      <a:lnTo>
                        <a:pt x="19" y="159"/>
                      </a:lnTo>
                      <a:lnTo>
                        <a:pt x="19" y="163"/>
                      </a:lnTo>
                      <a:lnTo>
                        <a:pt x="0" y="163"/>
                      </a:lnTo>
                      <a:lnTo>
                        <a:pt x="0" y="159"/>
                      </a:lnTo>
                      <a:close/>
                      <a:moveTo>
                        <a:pt x="0" y="0"/>
                      </a:moveTo>
                      <a:lnTo>
                        <a:pt x="19" y="0"/>
                      </a:lnTo>
                      <a:lnTo>
                        <a:pt x="19" y="4"/>
                      </a:lnTo>
                      <a:lnTo>
                        <a:pt x="0" y="4"/>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859" name="Rectangle 288">
                  <a:extLst>
                    <a:ext uri="{FF2B5EF4-FFF2-40B4-BE49-F238E27FC236}">
                      <a16:creationId xmlns:a16="http://schemas.microsoft.com/office/drawing/2014/main" id="{A7994156-78E9-B352-F0F7-C0ECAD3B3A0A}"/>
                    </a:ext>
                  </a:extLst>
                </p:cNvPr>
                <p:cNvSpPr>
                  <a:spLocks noChangeArrowheads="1"/>
                </p:cNvSpPr>
                <p:nvPr/>
              </p:nvSpPr>
              <p:spPr bwMode="auto">
                <a:xfrm>
                  <a:off x="3049" y="2489"/>
                  <a:ext cx="1516" cy="4"/>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860" name="Freeform 289">
                  <a:extLst>
                    <a:ext uri="{FF2B5EF4-FFF2-40B4-BE49-F238E27FC236}">
                      <a16:creationId xmlns:a16="http://schemas.microsoft.com/office/drawing/2014/main" id="{4AF84486-1934-AA3C-D272-B10885D8D10A}"/>
                    </a:ext>
                  </a:extLst>
                </p:cNvPr>
                <p:cNvSpPr>
                  <a:spLocks noEditPoints="1"/>
                </p:cNvSpPr>
                <p:nvPr/>
              </p:nvSpPr>
              <p:spPr bwMode="auto">
                <a:xfrm>
                  <a:off x="3046" y="2491"/>
                  <a:ext cx="1521" cy="19"/>
                </a:xfrm>
                <a:custGeom>
                  <a:avLst/>
                  <a:gdLst>
                    <a:gd name="T0" fmla="*/ 0 w 1521"/>
                    <a:gd name="T1" fmla="*/ 19 h 19"/>
                    <a:gd name="T2" fmla="*/ 54 w 1521"/>
                    <a:gd name="T3" fmla="*/ 0 h 19"/>
                    <a:gd name="T4" fmla="*/ 50 w 1521"/>
                    <a:gd name="T5" fmla="*/ 0 h 19"/>
                    <a:gd name="T6" fmla="*/ 102 w 1521"/>
                    <a:gd name="T7" fmla="*/ 19 h 19"/>
                    <a:gd name="T8" fmla="*/ 102 w 1521"/>
                    <a:gd name="T9" fmla="*/ 0 h 19"/>
                    <a:gd name="T10" fmla="*/ 147 w 1521"/>
                    <a:gd name="T11" fmla="*/ 19 h 19"/>
                    <a:gd name="T12" fmla="*/ 200 w 1521"/>
                    <a:gd name="T13" fmla="*/ 0 h 19"/>
                    <a:gd name="T14" fmla="*/ 196 w 1521"/>
                    <a:gd name="T15" fmla="*/ 0 h 19"/>
                    <a:gd name="T16" fmla="*/ 249 w 1521"/>
                    <a:gd name="T17" fmla="*/ 19 h 19"/>
                    <a:gd name="T18" fmla="*/ 249 w 1521"/>
                    <a:gd name="T19" fmla="*/ 0 h 19"/>
                    <a:gd name="T20" fmla="*/ 294 w 1521"/>
                    <a:gd name="T21" fmla="*/ 19 h 19"/>
                    <a:gd name="T22" fmla="*/ 347 w 1521"/>
                    <a:gd name="T23" fmla="*/ 0 h 19"/>
                    <a:gd name="T24" fmla="*/ 343 w 1521"/>
                    <a:gd name="T25" fmla="*/ 0 h 19"/>
                    <a:gd name="T26" fmla="*/ 396 w 1521"/>
                    <a:gd name="T27" fmla="*/ 19 h 19"/>
                    <a:gd name="T28" fmla="*/ 396 w 1521"/>
                    <a:gd name="T29" fmla="*/ 0 h 19"/>
                    <a:gd name="T30" fmla="*/ 440 w 1521"/>
                    <a:gd name="T31" fmla="*/ 19 h 19"/>
                    <a:gd name="T32" fmla="*/ 494 w 1521"/>
                    <a:gd name="T33" fmla="*/ 0 h 19"/>
                    <a:gd name="T34" fmla="*/ 490 w 1521"/>
                    <a:gd name="T35" fmla="*/ 0 h 19"/>
                    <a:gd name="T36" fmla="*/ 542 w 1521"/>
                    <a:gd name="T37" fmla="*/ 19 h 19"/>
                    <a:gd name="T38" fmla="*/ 542 w 1521"/>
                    <a:gd name="T39" fmla="*/ 0 h 19"/>
                    <a:gd name="T40" fmla="*/ 587 w 1521"/>
                    <a:gd name="T41" fmla="*/ 19 h 19"/>
                    <a:gd name="T42" fmla="*/ 640 w 1521"/>
                    <a:gd name="T43" fmla="*/ 0 h 19"/>
                    <a:gd name="T44" fmla="*/ 636 w 1521"/>
                    <a:gd name="T45" fmla="*/ 0 h 19"/>
                    <a:gd name="T46" fmla="*/ 689 w 1521"/>
                    <a:gd name="T47" fmla="*/ 19 h 19"/>
                    <a:gd name="T48" fmla="*/ 689 w 1521"/>
                    <a:gd name="T49" fmla="*/ 0 h 19"/>
                    <a:gd name="T50" fmla="*/ 734 w 1521"/>
                    <a:gd name="T51" fmla="*/ 19 h 19"/>
                    <a:gd name="T52" fmla="*/ 787 w 1521"/>
                    <a:gd name="T53" fmla="*/ 0 h 19"/>
                    <a:gd name="T54" fmla="*/ 783 w 1521"/>
                    <a:gd name="T55" fmla="*/ 0 h 19"/>
                    <a:gd name="T56" fmla="*/ 836 w 1521"/>
                    <a:gd name="T57" fmla="*/ 19 h 19"/>
                    <a:gd name="T58" fmla="*/ 836 w 1521"/>
                    <a:gd name="T59" fmla="*/ 0 h 19"/>
                    <a:gd name="T60" fmla="*/ 881 w 1521"/>
                    <a:gd name="T61" fmla="*/ 19 h 19"/>
                    <a:gd name="T62" fmla="*/ 934 w 1521"/>
                    <a:gd name="T63" fmla="*/ 0 h 19"/>
                    <a:gd name="T64" fmla="*/ 930 w 1521"/>
                    <a:gd name="T65" fmla="*/ 0 h 19"/>
                    <a:gd name="T66" fmla="*/ 983 w 1521"/>
                    <a:gd name="T67" fmla="*/ 19 h 19"/>
                    <a:gd name="T68" fmla="*/ 983 w 1521"/>
                    <a:gd name="T69" fmla="*/ 0 h 19"/>
                    <a:gd name="T70" fmla="*/ 1027 w 1521"/>
                    <a:gd name="T71" fmla="*/ 19 h 19"/>
                    <a:gd name="T72" fmla="*/ 1080 w 1521"/>
                    <a:gd name="T73" fmla="*/ 0 h 19"/>
                    <a:gd name="T74" fmla="*/ 1076 w 1521"/>
                    <a:gd name="T75" fmla="*/ 0 h 19"/>
                    <a:gd name="T76" fmla="*/ 1129 w 1521"/>
                    <a:gd name="T77" fmla="*/ 19 h 19"/>
                    <a:gd name="T78" fmla="*/ 1129 w 1521"/>
                    <a:gd name="T79" fmla="*/ 0 h 19"/>
                    <a:gd name="T80" fmla="*/ 1174 w 1521"/>
                    <a:gd name="T81" fmla="*/ 19 h 19"/>
                    <a:gd name="T82" fmla="*/ 1227 w 1521"/>
                    <a:gd name="T83" fmla="*/ 0 h 19"/>
                    <a:gd name="T84" fmla="*/ 1223 w 1521"/>
                    <a:gd name="T85" fmla="*/ 0 h 19"/>
                    <a:gd name="T86" fmla="*/ 1276 w 1521"/>
                    <a:gd name="T87" fmla="*/ 19 h 19"/>
                    <a:gd name="T88" fmla="*/ 1276 w 1521"/>
                    <a:gd name="T89" fmla="*/ 0 h 19"/>
                    <a:gd name="T90" fmla="*/ 1321 w 1521"/>
                    <a:gd name="T91" fmla="*/ 19 h 19"/>
                    <a:gd name="T92" fmla="*/ 1374 w 1521"/>
                    <a:gd name="T93" fmla="*/ 0 h 19"/>
                    <a:gd name="T94" fmla="*/ 1370 w 1521"/>
                    <a:gd name="T95" fmla="*/ 0 h 19"/>
                    <a:gd name="T96" fmla="*/ 1423 w 1521"/>
                    <a:gd name="T97" fmla="*/ 19 h 19"/>
                    <a:gd name="T98" fmla="*/ 1423 w 1521"/>
                    <a:gd name="T99" fmla="*/ 0 h 19"/>
                    <a:gd name="T100" fmla="*/ 1467 w 1521"/>
                    <a:gd name="T101" fmla="*/ 19 h 19"/>
                    <a:gd name="T102" fmla="*/ 1521 w 1521"/>
                    <a:gd name="T103" fmla="*/ 0 h 19"/>
                    <a:gd name="T104" fmla="*/ 1517 w 1521"/>
                    <a:gd name="T105" fmla="*/ 0 h 1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21" h="19">
                      <a:moveTo>
                        <a:pt x="5" y="0"/>
                      </a:moveTo>
                      <a:lnTo>
                        <a:pt x="5" y="19"/>
                      </a:lnTo>
                      <a:lnTo>
                        <a:pt x="0" y="19"/>
                      </a:lnTo>
                      <a:lnTo>
                        <a:pt x="0" y="0"/>
                      </a:lnTo>
                      <a:lnTo>
                        <a:pt x="5" y="0"/>
                      </a:lnTo>
                      <a:close/>
                      <a:moveTo>
                        <a:pt x="54" y="0"/>
                      </a:moveTo>
                      <a:lnTo>
                        <a:pt x="54" y="19"/>
                      </a:lnTo>
                      <a:lnTo>
                        <a:pt x="50" y="19"/>
                      </a:lnTo>
                      <a:lnTo>
                        <a:pt x="50" y="0"/>
                      </a:lnTo>
                      <a:lnTo>
                        <a:pt x="54" y="0"/>
                      </a:lnTo>
                      <a:close/>
                      <a:moveTo>
                        <a:pt x="102" y="0"/>
                      </a:moveTo>
                      <a:lnTo>
                        <a:pt x="102" y="19"/>
                      </a:lnTo>
                      <a:lnTo>
                        <a:pt x="98" y="19"/>
                      </a:lnTo>
                      <a:lnTo>
                        <a:pt x="98" y="0"/>
                      </a:lnTo>
                      <a:lnTo>
                        <a:pt x="102" y="0"/>
                      </a:lnTo>
                      <a:close/>
                      <a:moveTo>
                        <a:pt x="152" y="0"/>
                      </a:moveTo>
                      <a:lnTo>
                        <a:pt x="152" y="19"/>
                      </a:lnTo>
                      <a:lnTo>
                        <a:pt x="147" y="19"/>
                      </a:lnTo>
                      <a:lnTo>
                        <a:pt x="147" y="0"/>
                      </a:lnTo>
                      <a:lnTo>
                        <a:pt x="152" y="0"/>
                      </a:lnTo>
                      <a:close/>
                      <a:moveTo>
                        <a:pt x="200" y="0"/>
                      </a:moveTo>
                      <a:lnTo>
                        <a:pt x="200" y="19"/>
                      </a:lnTo>
                      <a:lnTo>
                        <a:pt x="196" y="19"/>
                      </a:lnTo>
                      <a:lnTo>
                        <a:pt x="196" y="0"/>
                      </a:lnTo>
                      <a:lnTo>
                        <a:pt x="200" y="0"/>
                      </a:lnTo>
                      <a:close/>
                      <a:moveTo>
                        <a:pt x="249" y="0"/>
                      </a:moveTo>
                      <a:lnTo>
                        <a:pt x="249" y="19"/>
                      </a:lnTo>
                      <a:lnTo>
                        <a:pt x="245" y="19"/>
                      </a:lnTo>
                      <a:lnTo>
                        <a:pt x="245" y="0"/>
                      </a:lnTo>
                      <a:lnTo>
                        <a:pt x="249" y="0"/>
                      </a:lnTo>
                      <a:close/>
                      <a:moveTo>
                        <a:pt x="298" y="0"/>
                      </a:moveTo>
                      <a:lnTo>
                        <a:pt x="298" y="19"/>
                      </a:lnTo>
                      <a:lnTo>
                        <a:pt x="294" y="19"/>
                      </a:lnTo>
                      <a:lnTo>
                        <a:pt x="294" y="0"/>
                      </a:lnTo>
                      <a:lnTo>
                        <a:pt x="298" y="0"/>
                      </a:lnTo>
                      <a:close/>
                      <a:moveTo>
                        <a:pt x="347" y="0"/>
                      </a:moveTo>
                      <a:lnTo>
                        <a:pt x="347" y="19"/>
                      </a:lnTo>
                      <a:lnTo>
                        <a:pt x="343" y="19"/>
                      </a:lnTo>
                      <a:lnTo>
                        <a:pt x="343" y="0"/>
                      </a:lnTo>
                      <a:lnTo>
                        <a:pt x="347" y="0"/>
                      </a:lnTo>
                      <a:close/>
                      <a:moveTo>
                        <a:pt x="396" y="0"/>
                      </a:moveTo>
                      <a:lnTo>
                        <a:pt x="396" y="19"/>
                      </a:lnTo>
                      <a:lnTo>
                        <a:pt x="392" y="19"/>
                      </a:lnTo>
                      <a:lnTo>
                        <a:pt x="392" y="0"/>
                      </a:lnTo>
                      <a:lnTo>
                        <a:pt x="396" y="0"/>
                      </a:lnTo>
                      <a:close/>
                      <a:moveTo>
                        <a:pt x="445" y="0"/>
                      </a:moveTo>
                      <a:lnTo>
                        <a:pt x="445" y="19"/>
                      </a:lnTo>
                      <a:lnTo>
                        <a:pt x="440" y="19"/>
                      </a:lnTo>
                      <a:lnTo>
                        <a:pt x="440" y="0"/>
                      </a:lnTo>
                      <a:lnTo>
                        <a:pt x="445" y="0"/>
                      </a:lnTo>
                      <a:close/>
                      <a:moveTo>
                        <a:pt x="494" y="0"/>
                      </a:moveTo>
                      <a:lnTo>
                        <a:pt x="494" y="19"/>
                      </a:lnTo>
                      <a:lnTo>
                        <a:pt x="490" y="19"/>
                      </a:lnTo>
                      <a:lnTo>
                        <a:pt x="490" y="0"/>
                      </a:lnTo>
                      <a:lnTo>
                        <a:pt x="494" y="0"/>
                      </a:lnTo>
                      <a:close/>
                      <a:moveTo>
                        <a:pt x="542" y="0"/>
                      </a:moveTo>
                      <a:lnTo>
                        <a:pt x="542" y="19"/>
                      </a:lnTo>
                      <a:lnTo>
                        <a:pt x="538" y="19"/>
                      </a:lnTo>
                      <a:lnTo>
                        <a:pt x="538" y="0"/>
                      </a:lnTo>
                      <a:lnTo>
                        <a:pt x="542" y="0"/>
                      </a:lnTo>
                      <a:close/>
                      <a:moveTo>
                        <a:pt x="592" y="0"/>
                      </a:moveTo>
                      <a:lnTo>
                        <a:pt x="592" y="19"/>
                      </a:lnTo>
                      <a:lnTo>
                        <a:pt x="587" y="19"/>
                      </a:lnTo>
                      <a:lnTo>
                        <a:pt x="587" y="0"/>
                      </a:lnTo>
                      <a:lnTo>
                        <a:pt x="592" y="0"/>
                      </a:lnTo>
                      <a:close/>
                      <a:moveTo>
                        <a:pt x="640" y="0"/>
                      </a:moveTo>
                      <a:lnTo>
                        <a:pt x="640" y="19"/>
                      </a:lnTo>
                      <a:lnTo>
                        <a:pt x="636" y="19"/>
                      </a:lnTo>
                      <a:lnTo>
                        <a:pt x="636" y="0"/>
                      </a:lnTo>
                      <a:lnTo>
                        <a:pt x="640" y="0"/>
                      </a:lnTo>
                      <a:close/>
                      <a:moveTo>
                        <a:pt x="689" y="0"/>
                      </a:moveTo>
                      <a:lnTo>
                        <a:pt x="689" y="19"/>
                      </a:lnTo>
                      <a:lnTo>
                        <a:pt x="685" y="19"/>
                      </a:lnTo>
                      <a:lnTo>
                        <a:pt x="685" y="0"/>
                      </a:lnTo>
                      <a:lnTo>
                        <a:pt x="689" y="0"/>
                      </a:lnTo>
                      <a:close/>
                      <a:moveTo>
                        <a:pt x="738" y="0"/>
                      </a:moveTo>
                      <a:lnTo>
                        <a:pt x="738" y="19"/>
                      </a:lnTo>
                      <a:lnTo>
                        <a:pt x="734" y="19"/>
                      </a:lnTo>
                      <a:lnTo>
                        <a:pt x="734" y="0"/>
                      </a:lnTo>
                      <a:lnTo>
                        <a:pt x="738" y="0"/>
                      </a:lnTo>
                      <a:close/>
                      <a:moveTo>
                        <a:pt x="787" y="0"/>
                      </a:moveTo>
                      <a:lnTo>
                        <a:pt x="787" y="19"/>
                      </a:lnTo>
                      <a:lnTo>
                        <a:pt x="783" y="19"/>
                      </a:lnTo>
                      <a:lnTo>
                        <a:pt x="783" y="0"/>
                      </a:lnTo>
                      <a:lnTo>
                        <a:pt x="787" y="0"/>
                      </a:lnTo>
                      <a:close/>
                      <a:moveTo>
                        <a:pt x="836" y="0"/>
                      </a:moveTo>
                      <a:lnTo>
                        <a:pt x="836" y="19"/>
                      </a:lnTo>
                      <a:lnTo>
                        <a:pt x="832" y="19"/>
                      </a:lnTo>
                      <a:lnTo>
                        <a:pt x="832" y="0"/>
                      </a:lnTo>
                      <a:lnTo>
                        <a:pt x="836" y="0"/>
                      </a:lnTo>
                      <a:close/>
                      <a:moveTo>
                        <a:pt x="885" y="0"/>
                      </a:moveTo>
                      <a:lnTo>
                        <a:pt x="885" y="19"/>
                      </a:lnTo>
                      <a:lnTo>
                        <a:pt x="881" y="19"/>
                      </a:lnTo>
                      <a:lnTo>
                        <a:pt x="881" y="0"/>
                      </a:lnTo>
                      <a:lnTo>
                        <a:pt x="885" y="0"/>
                      </a:lnTo>
                      <a:close/>
                      <a:moveTo>
                        <a:pt x="934" y="0"/>
                      </a:moveTo>
                      <a:lnTo>
                        <a:pt x="934" y="19"/>
                      </a:lnTo>
                      <a:lnTo>
                        <a:pt x="930" y="19"/>
                      </a:lnTo>
                      <a:lnTo>
                        <a:pt x="930" y="0"/>
                      </a:lnTo>
                      <a:lnTo>
                        <a:pt x="934" y="0"/>
                      </a:lnTo>
                      <a:close/>
                      <a:moveTo>
                        <a:pt x="983" y="0"/>
                      </a:moveTo>
                      <a:lnTo>
                        <a:pt x="983" y="19"/>
                      </a:lnTo>
                      <a:lnTo>
                        <a:pt x="978" y="19"/>
                      </a:lnTo>
                      <a:lnTo>
                        <a:pt x="978" y="0"/>
                      </a:lnTo>
                      <a:lnTo>
                        <a:pt x="983" y="0"/>
                      </a:lnTo>
                      <a:close/>
                      <a:moveTo>
                        <a:pt x="1032" y="0"/>
                      </a:moveTo>
                      <a:lnTo>
                        <a:pt x="1032" y="19"/>
                      </a:lnTo>
                      <a:lnTo>
                        <a:pt x="1027" y="19"/>
                      </a:lnTo>
                      <a:lnTo>
                        <a:pt x="1027" y="0"/>
                      </a:lnTo>
                      <a:lnTo>
                        <a:pt x="1032" y="0"/>
                      </a:lnTo>
                      <a:close/>
                      <a:moveTo>
                        <a:pt x="1080" y="0"/>
                      </a:moveTo>
                      <a:lnTo>
                        <a:pt x="1080" y="19"/>
                      </a:lnTo>
                      <a:lnTo>
                        <a:pt x="1076" y="19"/>
                      </a:lnTo>
                      <a:lnTo>
                        <a:pt x="1076" y="0"/>
                      </a:lnTo>
                      <a:lnTo>
                        <a:pt x="1080" y="0"/>
                      </a:lnTo>
                      <a:close/>
                      <a:moveTo>
                        <a:pt x="1129" y="0"/>
                      </a:moveTo>
                      <a:lnTo>
                        <a:pt x="1129" y="19"/>
                      </a:lnTo>
                      <a:lnTo>
                        <a:pt x="1125" y="19"/>
                      </a:lnTo>
                      <a:lnTo>
                        <a:pt x="1125" y="0"/>
                      </a:lnTo>
                      <a:lnTo>
                        <a:pt x="1129" y="0"/>
                      </a:lnTo>
                      <a:close/>
                      <a:moveTo>
                        <a:pt x="1179" y="0"/>
                      </a:moveTo>
                      <a:lnTo>
                        <a:pt x="1179" y="19"/>
                      </a:lnTo>
                      <a:lnTo>
                        <a:pt x="1174" y="19"/>
                      </a:lnTo>
                      <a:lnTo>
                        <a:pt x="1174" y="0"/>
                      </a:lnTo>
                      <a:lnTo>
                        <a:pt x="1179" y="0"/>
                      </a:lnTo>
                      <a:close/>
                      <a:moveTo>
                        <a:pt x="1227" y="0"/>
                      </a:moveTo>
                      <a:lnTo>
                        <a:pt x="1227" y="19"/>
                      </a:lnTo>
                      <a:lnTo>
                        <a:pt x="1223" y="19"/>
                      </a:lnTo>
                      <a:lnTo>
                        <a:pt x="1223" y="0"/>
                      </a:lnTo>
                      <a:lnTo>
                        <a:pt x="1227" y="0"/>
                      </a:lnTo>
                      <a:close/>
                      <a:moveTo>
                        <a:pt x="1276" y="0"/>
                      </a:moveTo>
                      <a:lnTo>
                        <a:pt x="1276" y="19"/>
                      </a:lnTo>
                      <a:lnTo>
                        <a:pt x="1272" y="19"/>
                      </a:lnTo>
                      <a:lnTo>
                        <a:pt x="1272" y="0"/>
                      </a:lnTo>
                      <a:lnTo>
                        <a:pt x="1276" y="0"/>
                      </a:lnTo>
                      <a:close/>
                      <a:moveTo>
                        <a:pt x="1325" y="0"/>
                      </a:moveTo>
                      <a:lnTo>
                        <a:pt x="1325" y="19"/>
                      </a:lnTo>
                      <a:lnTo>
                        <a:pt x="1321" y="19"/>
                      </a:lnTo>
                      <a:lnTo>
                        <a:pt x="1321" y="0"/>
                      </a:lnTo>
                      <a:lnTo>
                        <a:pt x="1325" y="0"/>
                      </a:lnTo>
                      <a:close/>
                      <a:moveTo>
                        <a:pt x="1374" y="0"/>
                      </a:moveTo>
                      <a:lnTo>
                        <a:pt x="1374" y="19"/>
                      </a:lnTo>
                      <a:lnTo>
                        <a:pt x="1370" y="19"/>
                      </a:lnTo>
                      <a:lnTo>
                        <a:pt x="1370" y="0"/>
                      </a:lnTo>
                      <a:lnTo>
                        <a:pt x="1374" y="0"/>
                      </a:lnTo>
                      <a:close/>
                      <a:moveTo>
                        <a:pt x="1423" y="0"/>
                      </a:moveTo>
                      <a:lnTo>
                        <a:pt x="1423" y="19"/>
                      </a:lnTo>
                      <a:lnTo>
                        <a:pt x="1418" y="19"/>
                      </a:lnTo>
                      <a:lnTo>
                        <a:pt x="1418" y="0"/>
                      </a:lnTo>
                      <a:lnTo>
                        <a:pt x="1423" y="0"/>
                      </a:lnTo>
                      <a:close/>
                      <a:moveTo>
                        <a:pt x="1472" y="0"/>
                      </a:moveTo>
                      <a:lnTo>
                        <a:pt x="1472" y="19"/>
                      </a:lnTo>
                      <a:lnTo>
                        <a:pt x="1467" y="19"/>
                      </a:lnTo>
                      <a:lnTo>
                        <a:pt x="1467" y="0"/>
                      </a:lnTo>
                      <a:lnTo>
                        <a:pt x="1472" y="0"/>
                      </a:lnTo>
                      <a:close/>
                      <a:moveTo>
                        <a:pt x="1521" y="0"/>
                      </a:moveTo>
                      <a:lnTo>
                        <a:pt x="1521" y="19"/>
                      </a:lnTo>
                      <a:lnTo>
                        <a:pt x="1517" y="19"/>
                      </a:lnTo>
                      <a:lnTo>
                        <a:pt x="1517" y="0"/>
                      </a:lnTo>
                      <a:lnTo>
                        <a:pt x="1521"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861" name="Freeform 290">
                  <a:extLst>
                    <a:ext uri="{FF2B5EF4-FFF2-40B4-BE49-F238E27FC236}">
                      <a16:creationId xmlns:a16="http://schemas.microsoft.com/office/drawing/2014/main" id="{727B302A-FD8E-C9B4-4D49-ECA1D7A2B59C}"/>
                    </a:ext>
                  </a:extLst>
                </p:cNvPr>
                <p:cNvSpPr>
                  <a:spLocks/>
                </p:cNvSpPr>
                <p:nvPr/>
              </p:nvSpPr>
              <p:spPr bwMode="auto">
                <a:xfrm>
                  <a:off x="3066" y="2040"/>
                  <a:ext cx="1480" cy="457"/>
                </a:xfrm>
                <a:custGeom>
                  <a:avLst/>
                  <a:gdLst>
                    <a:gd name="T0" fmla="*/ 0 w 8300"/>
                    <a:gd name="T1" fmla="*/ 0 h 2568"/>
                    <a:gd name="T2" fmla="*/ 0 w 8300"/>
                    <a:gd name="T3" fmla="*/ 0 h 2568"/>
                    <a:gd name="T4" fmla="*/ 0 w 8300"/>
                    <a:gd name="T5" fmla="*/ 0 h 2568"/>
                    <a:gd name="T6" fmla="*/ 0 w 8300"/>
                    <a:gd name="T7" fmla="*/ 0 h 2568"/>
                    <a:gd name="T8" fmla="*/ 0 w 8300"/>
                    <a:gd name="T9" fmla="*/ 0 h 2568"/>
                    <a:gd name="T10" fmla="*/ 0 w 8300"/>
                    <a:gd name="T11" fmla="*/ 0 h 2568"/>
                    <a:gd name="T12" fmla="*/ 0 w 8300"/>
                    <a:gd name="T13" fmla="*/ 0 h 2568"/>
                    <a:gd name="T14" fmla="*/ 0 w 8300"/>
                    <a:gd name="T15" fmla="*/ 0 h 2568"/>
                    <a:gd name="T16" fmla="*/ 0 w 8300"/>
                    <a:gd name="T17" fmla="*/ 0 h 2568"/>
                    <a:gd name="T18" fmla="*/ 0 w 8300"/>
                    <a:gd name="T19" fmla="*/ 0 h 2568"/>
                    <a:gd name="T20" fmla="*/ 0 w 8300"/>
                    <a:gd name="T21" fmla="*/ 0 h 2568"/>
                    <a:gd name="T22" fmla="*/ 0 w 8300"/>
                    <a:gd name="T23" fmla="*/ 0 h 2568"/>
                    <a:gd name="T24" fmla="*/ 0 w 8300"/>
                    <a:gd name="T25" fmla="*/ 0 h 2568"/>
                    <a:gd name="T26" fmla="*/ 0 w 8300"/>
                    <a:gd name="T27" fmla="*/ 0 h 2568"/>
                    <a:gd name="T28" fmla="*/ 0 w 8300"/>
                    <a:gd name="T29" fmla="*/ 0 h 2568"/>
                    <a:gd name="T30" fmla="*/ 0 w 8300"/>
                    <a:gd name="T31" fmla="*/ 0 h 2568"/>
                    <a:gd name="T32" fmla="*/ 0 w 8300"/>
                    <a:gd name="T33" fmla="*/ 0 h 2568"/>
                    <a:gd name="T34" fmla="*/ 0 w 8300"/>
                    <a:gd name="T35" fmla="*/ 0 h 2568"/>
                    <a:gd name="T36" fmla="*/ 0 w 8300"/>
                    <a:gd name="T37" fmla="*/ 0 h 2568"/>
                    <a:gd name="T38" fmla="*/ 0 w 8300"/>
                    <a:gd name="T39" fmla="*/ 0 h 2568"/>
                    <a:gd name="T40" fmla="*/ 0 w 8300"/>
                    <a:gd name="T41" fmla="*/ 0 h 2568"/>
                    <a:gd name="T42" fmla="*/ 0 w 8300"/>
                    <a:gd name="T43" fmla="*/ 0 h 2568"/>
                    <a:gd name="T44" fmla="*/ 0 w 8300"/>
                    <a:gd name="T45" fmla="*/ 0 h 2568"/>
                    <a:gd name="T46" fmla="*/ 0 w 8300"/>
                    <a:gd name="T47" fmla="*/ 0 h 2568"/>
                    <a:gd name="T48" fmla="*/ 0 w 8300"/>
                    <a:gd name="T49" fmla="*/ 0 h 2568"/>
                    <a:gd name="T50" fmla="*/ 0 w 8300"/>
                    <a:gd name="T51" fmla="*/ 0 h 2568"/>
                    <a:gd name="T52" fmla="*/ 0 w 8300"/>
                    <a:gd name="T53" fmla="*/ 0 h 2568"/>
                    <a:gd name="T54" fmla="*/ 0 w 8300"/>
                    <a:gd name="T55" fmla="*/ 0 h 2568"/>
                    <a:gd name="T56" fmla="*/ 0 w 8300"/>
                    <a:gd name="T57" fmla="*/ 0 h 2568"/>
                    <a:gd name="T58" fmla="*/ 0 w 8300"/>
                    <a:gd name="T59" fmla="*/ 0 h 2568"/>
                    <a:gd name="T60" fmla="*/ 0 w 8300"/>
                    <a:gd name="T61" fmla="*/ 0 h 2568"/>
                    <a:gd name="T62" fmla="*/ 0 w 8300"/>
                    <a:gd name="T63" fmla="*/ 0 h 2568"/>
                    <a:gd name="T64" fmla="*/ 0 w 8300"/>
                    <a:gd name="T65" fmla="*/ 0 h 2568"/>
                    <a:gd name="T66" fmla="*/ 0 w 8300"/>
                    <a:gd name="T67" fmla="*/ 0 h 2568"/>
                    <a:gd name="T68" fmla="*/ 0 w 8300"/>
                    <a:gd name="T69" fmla="*/ 0 h 2568"/>
                    <a:gd name="T70" fmla="*/ 0 w 8300"/>
                    <a:gd name="T71" fmla="*/ 0 h 2568"/>
                    <a:gd name="T72" fmla="*/ 0 w 8300"/>
                    <a:gd name="T73" fmla="*/ 0 h 2568"/>
                    <a:gd name="T74" fmla="*/ 0 w 8300"/>
                    <a:gd name="T75" fmla="*/ 0 h 2568"/>
                    <a:gd name="T76" fmla="*/ 0 w 8300"/>
                    <a:gd name="T77" fmla="*/ 0 h 2568"/>
                    <a:gd name="T78" fmla="*/ 0 w 8300"/>
                    <a:gd name="T79" fmla="*/ 0 h 2568"/>
                    <a:gd name="T80" fmla="*/ 0 w 8300"/>
                    <a:gd name="T81" fmla="*/ 0 h 2568"/>
                    <a:gd name="T82" fmla="*/ 0 w 8300"/>
                    <a:gd name="T83" fmla="*/ 0 h 25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300" h="2568">
                      <a:moveTo>
                        <a:pt x="36" y="2496"/>
                      </a:moveTo>
                      <a:lnTo>
                        <a:pt x="312" y="2496"/>
                      </a:lnTo>
                      <a:lnTo>
                        <a:pt x="584" y="2496"/>
                      </a:lnTo>
                      <a:lnTo>
                        <a:pt x="860" y="2496"/>
                      </a:lnTo>
                      <a:lnTo>
                        <a:pt x="1136" y="2496"/>
                      </a:lnTo>
                      <a:lnTo>
                        <a:pt x="1108" y="2511"/>
                      </a:lnTo>
                      <a:lnTo>
                        <a:pt x="1380" y="2155"/>
                      </a:lnTo>
                      <a:cubicBezTo>
                        <a:pt x="1387" y="2146"/>
                        <a:pt x="1397" y="2140"/>
                        <a:pt x="1408" y="2140"/>
                      </a:cubicBezTo>
                      <a:lnTo>
                        <a:pt x="1684" y="2140"/>
                      </a:lnTo>
                      <a:lnTo>
                        <a:pt x="1956" y="2140"/>
                      </a:lnTo>
                      <a:lnTo>
                        <a:pt x="2232" y="2140"/>
                      </a:lnTo>
                      <a:lnTo>
                        <a:pt x="2199" y="2164"/>
                      </a:lnTo>
                      <a:lnTo>
                        <a:pt x="2471" y="1452"/>
                      </a:lnTo>
                      <a:cubicBezTo>
                        <a:pt x="2476" y="1438"/>
                        <a:pt x="2490" y="1428"/>
                        <a:pt x="2504" y="1428"/>
                      </a:cubicBezTo>
                      <a:lnTo>
                        <a:pt x="2780" y="1428"/>
                      </a:lnTo>
                      <a:lnTo>
                        <a:pt x="3052" y="1428"/>
                      </a:lnTo>
                      <a:lnTo>
                        <a:pt x="3328" y="1428"/>
                      </a:lnTo>
                      <a:lnTo>
                        <a:pt x="3300" y="1442"/>
                      </a:lnTo>
                      <a:lnTo>
                        <a:pt x="3576" y="1086"/>
                      </a:lnTo>
                      <a:cubicBezTo>
                        <a:pt x="3583" y="1078"/>
                        <a:pt x="3593" y="1072"/>
                        <a:pt x="3604" y="1072"/>
                      </a:cubicBezTo>
                      <a:lnTo>
                        <a:pt x="3876" y="1072"/>
                      </a:lnTo>
                      <a:lnTo>
                        <a:pt x="4152" y="1072"/>
                      </a:lnTo>
                      <a:lnTo>
                        <a:pt x="4424" y="1072"/>
                      </a:lnTo>
                      <a:lnTo>
                        <a:pt x="4396" y="1086"/>
                      </a:lnTo>
                      <a:lnTo>
                        <a:pt x="4672" y="730"/>
                      </a:lnTo>
                      <a:cubicBezTo>
                        <a:pt x="4679" y="722"/>
                        <a:pt x="4689" y="716"/>
                        <a:pt x="4700" y="716"/>
                      </a:cubicBezTo>
                      <a:lnTo>
                        <a:pt x="4972" y="716"/>
                      </a:lnTo>
                      <a:lnTo>
                        <a:pt x="5248" y="716"/>
                      </a:lnTo>
                      <a:lnTo>
                        <a:pt x="5524" y="716"/>
                      </a:lnTo>
                      <a:lnTo>
                        <a:pt x="5491" y="740"/>
                      </a:lnTo>
                      <a:lnTo>
                        <a:pt x="5763" y="24"/>
                      </a:lnTo>
                      <a:cubicBezTo>
                        <a:pt x="5768" y="10"/>
                        <a:pt x="5782" y="0"/>
                        <a:pt x="5796" y="0"/>
                      </a:cubicBezTo>
                      <a:lnTo>
                        <a:pt x="6072" y="0"/>
                      </a:lnTo>
                      <a:lnTo>
                        <a:pt x="6344" y="0"/>
                      </a:lnTo>
                      <a:lnTo>
                        <a:pt x="6620" y="0"/>
                      </a:lnTo>
                      <a:lnTo>
                        <a:pt x="6892" y="0"/>
                      </a:lnTo>
                      <a:lnTo>
                        <a:pt x="7168" y="0"/>
                      </a:lnTo>
                      <a:lnTo>
                        <a:pt x="7444" y="0"/>
                      </a:lnTo>
                      <a:lnTo>
                        <a:pt x="7716" y="0"/>
                      </a:lnTo>
                      <a:lnTo>
                        <a:pt x="7992" y="0"/>
                      </a:lnTo>
                      <a:lnTo>
                        <a:pt x="8264" y="0"/>
                      </a:lnTo>
                      <a:cubicBezTo>
                        <a:pt x="8284" y="0"/>
                        <a:pt x="8300" y="17"/>
                        <a:pt x="8300" y="36"/>
                      </a:cubicBezTo>
                      <a:cubicBezTo>
                        <a:pt x="8300" y="56"/>
                        <a:pt x="8284" y="72"/>
                        <a:pt x="8264" y="72"/>
                      </a:cubicBezTo>
                      <a:lnTo>
                        <a:pt x="7992" y="72"/>
                      </a:lnTo>
                      <a:lnTo>
                        <a:pt x="7716" y="72"/>
                      </a:lnTo>
                      <a:lnTo>
                        <a:pt x="7444" y="72"/>
                      </a:lnTo>
                      <a:lnTo>
                        <a:pt x="7168" y="72"/>
                      </a:lnTo>
                      <a:lnTo>
                        <a:pt x="6892" y="72"/>
                      </a:lnTo>
                      <a:lnTo>
                        <a:pt x="6620" y="72"/>
                      </a:lnTo>
                      <a:lnTo>
                        <a:pt x="6344" y="72"/>
                      </a:lnTo>
                      <a:lnTo>
                        <a:pt x="6072" y="72"/>
                      </a:lnTo>
                      <a:lnTo>
                        <a:pt x="5796" y="72"/>
                      </a:lnTo>
                      <a:lnTo>
                        <a:pt x="5830" y="49"/>
                      </a:lnTo>
                      <a:lnTo>
                        <a:pt x="5558" y="765"/>
                      </a:lnTo>
                      <a:cubicBezTo>
                        <a:pt x="5553" y="779"/>
                        <a:pt x="5539" y="788"/>
                        <a:pt x="5524" y="788"/>
                      </a:cubicBezTo>
                      <a:lnTo>
                        <a:pt x="5248" y="788"/>
                      </a:lnTo>
                      <a:lnTo>
                        <a:pt x="4972" y="788"/>
                      </a:lnTo>
                      <a:lnTo>
                        <a:pt x="4700" y="788"/>
                      </a:lnTo>
                      <a:lnTo>
                        <a:pt x="4729" y="775"/>
                      </a:lnTo>
                      <a:lnTo>
                        <a:pt x="4453" y="1131"/>
                      </a:lnTo>
                      <a:cubicBezTo>
                        <a:pt x="4446" y="1139"/>
                        <a:pt x="4436" y="1144"/>
                        <a:pt x="4424" y="1144"/>
                      </a:cubicBezTo>
                      <a:lnTo>
                        <a:pt x="4152" y="1144"/>
                      </a:lnTo>
                      <a:lnTo>
                        <a:pt x="3876" y="1144"/>
                      </a:lnTo>
                      <a:lnTo>
                        <a:pt x="3604" y="1144"/>
                      </a:lnTo>
                      <a:lnTo>
                        <a:pt x="3633" y="1131"/>
                      </a:lnTo>
                      <a:lnTo>
                        <a:pt x="3357" y="1487"/>
                      </a:lnTo>
                      <a:cubicBezTo>
                        <a:pt x="3350" y="1495"/>
                        <a:pt x="3340" y="1500"/>
                        <a:pt x="3328" y="1500"/>
                      </a:cubicBezTo>
                      <a:lnTo>
                        <a:pt x="3052" y="1500"/>
                      </a:lnTo>
                      <a:lnTo>
                        <a:pt x="2780" y="1500"/>
                      </a:lnTo>
                      <a:lnTo>
                        <a:pt x="2504" y="1500"/>
                      </a:lnTo>
                      <a:lnTo>
                        <a:pt x="2538" y="1477"/>
                      </a:lnTo>
                      <a:lnTo>
                        <a:pt x="2266" y="2189"/>
                      </a:lnTo>
                      <a:cubicBezTo>
                        <a:pt x="2261" y="2203"/>
                        <a:pt x="2247" y="2212"/>
                        <a:pt x="2232" y="2212"/>
                      </a:cubicBezTo>
                      <a:lnTo>
                        <a:pt x="1956" y="2212"/>
                      </a:lnTo>
                      <a:lnTo>
                        <a:pt x="1684" y="2212"/>
                      </a:lnTo>
                      <a:lnTo>
                        <a:pt x="1408" y="2212"/>
                      </a:lnTo>
                      <a:lnTo>
                        <a:pt x="1437" y="2198"/>
                      </a:lnTo>
                      <a:lnTo>
                        <a:pt x="1165" y="2554"/>
                      </a:lnTo>
                      <a:cubicBezTo>
                        <a:pt x="1158" y="2563"/>
                        <a:pt x="1148" y="2568"/>
                        <a:pt x="1136" y="2568"/>
                      </a:cubicBezTo>
                      <a:lnTo>
                        <a:pt x="860" y="2568"/>
                      </a:lnTo>
                      <a:lnTo>
                        <a:pt x="584" y="2568"/>
                      </a:lnTo>
                      <a:lnTo>
                        <a:pt x="312" y="2568"/>
                      </a:lnTo>
                      <a:lnTo>
                        <a:pt x="36" y="2568"/>
                      </a:lnTo>
                      <a:cubicBezTo>
                        <a:pt x="17" y="2568"/>
                        <a:pt x="0" y="2552"/>
                        <a:pt x="0" y="2532"/>
                      </a:cubicBezTo>
                      <a:cubicBezTo>
                        <a:pt x="0" y="2513"/>
                        <a:pt x="17" y="2496"/>
                        <a:pt x="36" y="2496"/>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862" name="Freeform 291">
                  <a:extLst>
                    <a:ext uri="{FF2B5EF4-FFF2-40B4-BE49-F238E27FC236}">
                      <a16:creationId xmlns:a16="http://schemas.microsoft.com/office/drawing/2014/main" id="{38779485-5979-F82F-ABA8-DBFF507D3F85}"/>
                    </a:ext>
                  </a:extLst>
                </p:cNvPr>
                <p:cNvSpPr>
                  <a:spLocks/>
                </p:cNvSpPr>
                <p:nvPr/>
              </p:nvSpPr>
              <p:spPr bwMode="auto">
                <a:xfrm>
                  <a:off x="3052" y="2470"/>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3" name="Freeform 292">
                  <a:extLst>
                    <a:ext uri="{FF2B5EF4-FFF2-40B4-BE49-F238E27FC236}">
                      <a16:creationId xmlns:a16="http://schemas.microsoft.com/office/drawing/2014/main" id="{8F02DA48-F504-099D-D011-B53553D93944}"/>
                    </a:ext>
                  </a:extLst>
                </p:cNvPr>
                <p:cNvSpPr>
                  <a:spLocks noEditPoints="1"/>
                </p:cNvSpPr>
                <p:nvPr/>
              </p:nvSpPr>
              <p:spPr bwMode="auto">
                <a:xfrm>
                  <a:off x="3050" y="2468"/>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64" name="Freeform 293">
                  <a:extLst>
                    <a:ext uri="{FF2B5EF4-FFF2-40B4-BE49-F238E27FC236}">
                      <a16:creationId xmlns:a16="http://schemas.microsoft.com/office/drawing/2014/main" id="{BE6AC40B-A4E2-1872-EDB0-85514B78BAB8}"/>
                    </a:ext>
                  </a:extLst>
                </p:cNvPr>
                <p:cNvSpPr>
                  <a:spLocks/>
                </p:cNvSpPr>
                <p:nvPr/>
              </p:nvSpPr>
              <p:spPr bwMode="auto">
                <a:xfrm>
                  <a:off x="3101" y="2470"/>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5" name="Freeform 294">
                  <a:extLst>
                    <a:ext uri="{FF2B5EF4-FFF2-40B4-BE49-F238E27FC236}">
                      <a16:creationId xmlns:a16="http://schemas.microsoft.com/office/drawing/2014/main" id="{5EBEF90C-C6BF-44F5-3FE4-75F3573C7E29}"/>
                    </a:ext>
                  </a:extLst>
                </p:cNvPr>
                <p:cNvSpPr>
                  <a:spLocks noEditPoints="1"/>
                </p:cNvSpPr>
                <p:nvPr/>
              </p:nvSpPr>
              <p:spPr bwMode="auto">
                <a:xfrm>
                  <a:off x="3099" y="2468"/>
                  <a:ext cx="45"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66" name="Freeform 295">
                  <a:extLst>
                    <a:ext uri="{FF2B5EF4-FFF2-40B4-BE49-F238E27FC236}">
                      <a16:creationId xmlns:a16="http://schemas.microsoft.com/office/drawing/2014/main" id="{3BA37B53-429B-8A87-9FD1-0BF65438CBAF}"/>
                    </a:ext>
                  </a:extLst>
                </p:cNvPr>
                <p:cNvSpPr>
                  <a:spLocks/>
                </p:cNvSpPr>
                <p:nvPr/>
              </p:nvSpPr>
              <p:spPr bwMode="auto">
                <a:xfrm>
                  <a:off x="3150" y="2470"/>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7" name="Freeform 296">
                  <a:extLst>
                    <a:ext uri="{FF2B5EF4-FFF2-40B4-BE49-F238E27FC236}">
                      <a16:creationId xmlns:a16="http://schemas.microsoft.com/office/drawing/2014/main" id="{E513A739-A07B-B388-DB3A-C41D86192203}"/>
                    </a:ext>
                  </a:extLst>
                </p:cNvPr>
                <p:cNvSpPr>
                  <a:spLocks noEditPoints="1"/>
                </p:cNvSpPr>
                <p:nvPr/>
              </p:nvSpPr>
              <p:spPr bwMode="auto">
                <a:xfrm>
                  <a:off x="3148" y="2468"/>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68" name="Freeform 297">
                  <a:extLst>
                    <a:ext uri="{FF2B5EF4-FFF2-40B4-BE49-F238E27FC236}">
                      <a16:creationId xmlns:a16="http://schemas.microsoft.com/office/drawing/2014/main" id="{10FB888A-E003-BD49-C1DE-699B2256CAB1}"/>
                    </a:ext>
                  </a:extLst>
                </p:cNvPr>
                <p:cNvSpPr>
                  <a:spLocks/>
                </p:cNvSpPr>
                <p:nvPr/>
              </p:nvSpPr>
              <p:spPr bwMode="auto">
                <a:xfrm>
                  <a:off x="3198" y="2470"/>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9" name="Freeform 298">
                  <a:extLst>
                    <a:ext uri="{FF2B5EF4-FFF2-40B4-BE49-F238E27FC236}">
                      <a16:creationId xmlns:a16="http://schemas.microsoft.com/office/drawing/2014/main" id="{4ABC1F41-FF83-6A7D-ACA1-30DFFEEA97A4}"/>
                    </a:ext>
                  </a:extLst>
                </p:cNvPr>
                <p:cNvSpPr>
                  <a:spLocks noEditPoints="1"/>
                </p:cNvSpPr>
                <p:nvPr/>
              </p:nvSpPr>
              <p:spPr bwMode="auto">
                <a:xfrm>
                  <a:off x="3196" y="2468"/>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70" name="Freeform 299">
                  <a:extLst>
                    <a:ext uri="{FF2B5EF4-FFF2-40B4-BE49-F238E27FC236}">
                      <a16:creationId xmlns:a16="http://schemas.microsoft.com/office/drawing/2014/main" id="{FE33C56F-7330-B941-2C52-A2E921EC5B16}"/>
                    </a:ext>
                  </a:extLst>
                </p:cNvPr>
                <p:cNvSpPr>
                  <a:spLocks/>
                </p:cNvSpPr>
                <p:nvPr/>
              </p:nvSpPr>
              <p:spPr bwMode="auto">
                <a:xfrm>
                  <a:off x="3248" y="2470"/>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1" name="Freeform 300">
                  <a:extLst>
                    <a:ext uri="{FF2B5EF4-FFF2-40B4-BE49-F238E27FC236}">
                      <a16:creationId xmlns:a16="http://schemas.microsoft.com/office/drawing/2014/main" id="{03D6A2CE-E628-CF3A-6C07-EEBB72927138}"/>
                    </a:ext>
                  </a:extLst>
                </p:cNvPr>
                <p:cNvSpPr>
                  <a:spLocks noEditPoints="1"/>
                </p:cNvSpPr>
                <p:nvPr/>
              </p:nvSpPr>
              <p:spPr bwMode="auto">
                <a:xfrm>
                  <a:off x="3245" y="2468"/>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72" name="Freeform 301">
                  <a:extLst>
                    <a:ext uri="{FF2B5EF4-FFF2-40B4-BE49-F238E27FC236}">
                      <a16:creationId xmlns:a16="http://schemas.microsoft.com/office/drawing/2014/main" id="{96575507-8701-CAF9-8D86-FB22E661B4E9}"/>
                    </a:ext>
                  </a:extLst>
                </p:cNvPr>
                <p:cNvSpPr>
                  <a:spLocks/>
                </p:cNvSpPr>
                <p:nvPr/>
              </p:nvSpPr>
              <p:spPr bwMode="auto">
                <a:xfrm>
                  <a:off x="3297" y="2407"/>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3" name="Freeform 302">
                  <a:extLst>
                    <a:ext uri="{FF2B5EF4-FFF2-40B4-BE49-F238E27FC236}">
                      <a16:creationId xmlns:a16="http://schemas.microsoft.com/office/drawing/2014/main" id="{8A5429C2-680B-0928-2F14-FF81A052CE04}"/>
                    </a:ext>
                  </a:extLst>
                </p:cNvPr>
                <p:cNvSpPr>
                  <a:spLocks noEditPoints="1"/>
                </p:cNvSpPr>
                <p:nvPr/>
              </p:nvSpPr>
              <p:spPr bwMode="auto">
                <a:xfrm>
                  <a:off x="3295" y="2405"/>
                  <a:ext cx="46" cy="45"/>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74" name="Freeform 303">
                  <a:extLst>
                    <a:ext uri="{FF2B5EF4-FFF2-40B4-BE49-F238E27FC236}">
                      <a16:creationId xmlns:a16="http://schemas.microsoft.com/office/drawing/2014/main" id="{1B9B58DD-91DB-4492-C269-15498D287CEC}"/>
                    </a:ext>
                  </a:extLst>
                </p:cNvPr>
                <p:cNvSpPr>
                  <a:spLocks/>
                </p:cNvSpPr>
                <p:nvPr/>
              </p:nvSpPr>
              <p:spPr bwMode="auto">
                <a:xfrm>
                  <a:off x="3345" y="2407"/>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5" name="Freeform 304">
                  <a:extLst>
                    <a:ext uri="{FF2B5EF4-FFF2-40B4-BE49-F238E27FC236}">
                      <a16:creationId xmlns:a16="http://schemas.microsoft.com/office/drawing/2014/main" id="{AFDB4977-308E-1488-3150-094587B320CC}"/>
                    </a:ext>
                  </a:extLst>
                </p:cNvPr>
                <p:cNvSpPr>
                  <a:spLocks noEditPoints="1"/>
                </p:cNvSpPr>
                <p:nvPr/>
              </p:nvSpPr>
              <p:spPr bwMode="auto">
                <a:xfrm>
                  <a:off x="3343" y="2405"/>
                  <a:ext cx="46" cy="45"/>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76" name="Freeform 305">
                  <a:extLst>
                    <a:ext uri="{FF2B5EF4-FFF2-40B4-BE49-F238E27FC236}">
                      <a16:creationId xmlns:a16="http://schemas.microsoft.com/office/drawing/2014/main" id="{B3A7BE5B-3F16-1FED-AC69-058C619986EF}"/>
                    </a:ext>
                  </a:extLst>
                </p:cNvPr>
                <p:cNvSpPr>
                  <a:spLocks/>
                </p:cNvSpPr>
                <p:nvPr/>
              </p:nvSpPr>
              <p:spPr bwMode="auto">
                <a:xfrm>
                  <a:off x="3394" y="2407"/>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7" name="Freeform 306">
                  <a:extLst>
                    <a:ext uri="{FF2B5EF4-FFF2-40B4-BE49-F238E27FC236}">
                      <a16:creationId xmlns:a16="http://schemas.microsoft.com/office/drawing/2014/main" id="{18884809-45D2-708F-D555-0CC39DD93E81}"/>
                    </a:ext>
                  </a:extLst>
                </p:cNvPr>
                <p:cNvSpPr>
                  <a:spLocks noEditPoints="1"/>
                </p:cNvSpPr>
                <p:nvPr/>
              </p:nvSpPr>
              <p:spPr bwMode="auto">
                <a:xfrm>
                  <a:off x="3392" y="2405"/>
                  <a:ext cx="46" cy="45"/>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78" name="Freeform 307">
                  <a:extLst>
                    <a:ext uri="{FF2B5EF4-FFF2-40B4-BE49-F238E27FC236}">
                      <a16:creationId xmlns:a16="http://schemas.microsoft.com/office/drawing/2014/main" id="{35BC9C5E-40CF-8ABD-E3D4-317429A187FF}"/>
                    </a:ext>
                  </a:extLst>
                </p:cNvPr>
                <p:cNvSpPr>
                  <a:spLocks/>
                </p:cNvSpPr>
                <p:nvPr/>
              </p:nvSpPr>
              <p:spPr bwMode="auto">
                <a:xfrm>
                  <a:off x="3443" y="2407"/>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9" name="Freeform 308">
                  <a:extLst>
                    <a:ext uri="{FF2B5EF4-FFF2-40B4-BE49-F238E27FC236}">
                      <a16:creationId xmlns:a16="http://schemas.microsoft.com/office/drawing/2014/main" id="{56162997-AD27-CF36-447A-AF7FF9D1EFEC}"/>
                    </a:ext>
                  </a:extLst>
                </p:cNvPr>
                <p:cNvSpPr>
                  <a:spLocks noEditPoints="1"/>
                </p:cNvSpPr>
                <p:nvPr/>
              </p:nvSpPr>
              <p:spPr bwMode="auto">
                <a:xfrm>
                  <a:off x="3441" y="2405"/>
                  <a:ext cx="46" cy="45"/>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80" name="Freeform 309">
                  <a:extLst>
                    <a:ext uri="{FF2B5EF4-FFF2-40B4-BE49-F238E27FC236}">
                      <a16:creationId xmlns:a16="http://schemas.microsoft.com/office/drawing/2014/main" id="{FA64EA53-E18D-DCD7-326B-0DC8D2C7F5EB}"/>
                    </a:ext>
                  </a:extLst>
                </p:cNvPr>
                <p:cNvSpPr>
                  <a:spLocks/>
                </p:cNvSpPr>
                <p:nvPr/>
              </p:nvSpPr>
              <p:spPr bwMode="auto">
                <a:xfrm>
                  <a:off x="3492" y="2279"/>
                  <a:ext cx="42" cy="42"/>
                </a:xfrm>
                <a:custGeom>
                  <a:avLst/>
                  <a:gdLst>
                    <a:gd name="T0" fmla="*/ 21 w 42"/>
                    <a:gd name="T1" fmla="*/ 0 h 42"/>
                    <a:gd name="T2" fmla="*/ 42 w 42"/>
                    <a:gd name="T3" fmla="*/ 21 h 42"/>
                    <a:gd name="T4" fmla="*/ 21 w 42"/>
                    <a:gd name="T5" fmla="*/ 42 h 42"/>
                    <a:gd name="T6" fmla="*/ 0 w 42"/>
                    <a:gd name="T7" fmla="*/ 21 h 42"/>
                    <a:gd name="T8" fmla="*/ 21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1" name="Freeform 310">
                  <a:extLst>
                    <a:ext uri="{FF2B5EF4-FFF2-40B4-BE49-F238E27FC236}">
                      <a16:creationId xmlns:a16="http://schemas.microsoft.com/office/drawing/2014/main" id="{9D951792-7357-5C09-B310-07057DCCCE3F}"/>
                    </a:ext>
                  </a:extLst>
                </p:cNvPr>
                <p:cNvSpPr>
                  <a:spLocks noEditPoints="1"/>
                </p:cNvSpPr>
                <p:nvPr/>
              </p:nvSpPr>
              <p:spPr bwMode="auto">
                <a:xfrm>
                  <a:off x="3490" y="2277"/>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82" name="Freeform 311">
                  <a:extLst>
                    <a:ext uri="{FF2B5EF4-FFF2-40B4-BE49-F238E27FC236}">
                      <a16:creationId xmlns:a16="http://schemas.microsoft.com/office/drawing/2014/main" id="{5E00B974-1A82-E724-500E-8F9F8DE0B6D8}"/>
                    </a:ext>
                  </a:extLst>
                </p:cNvPr>
                <p:cNvSpPr>
                  <a:spLocks/>
                </p:cNvSpPr>
                <p:nvPr/>
              </p:nvSpPr>
              <p:spPr bwMode="auto">
                <a:xfrm>
                  <a:off x="3541" y="2279"/>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3" name="Freeform 312">
                  <a:extLst>
                    <a:ext uri="{FF2B5EF4-FFF2-40B4-BE49-F238E27FC236}">
                      <a16:creationId xmlns:a16="http://schemas.microsoft.com/office/drawing/2014/main" id="{79AB7095-2B4C-195D-1D7A-6392FB7DE66B}"/>
                    </a:ext>
                  </a:extLst>
                </p:cNvPr>
                <p:cNvSpPr>
                  <a:spLocks noEditPoints="1"/>
                </p:cNvSpPr>
                <p:nvPr/>
              </p:nvSpPr>
              <p:spPr bwMode="auto">
                <a:xfrm>
                  <a:off x="3539" y="2277"/>
                  <a:ext cx="45"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84" name="Freeform 313">
                  <a:extLst>
                    <a:ext uri="{FF2B5EF4-FFF2-40B4-BE49-F238E27FC236}">
                      <a16:creationId xmlns:a16="http://schemas.microsoft.com/office/drawing/2014/main" id="{C02E19CA-3434-8413-0634-281CE91C749D}"/>
                    </a:ext>
                  </a:extLst>
                </p:cNvPr>
                <p:cNvSpPr>
                  <a:spLocks/>
                </p:cNvSpPr>
                <p:nvPr/>
              </p:nvSpPr>
              <p:spPr bwMode="auto">
                <a:xfrm>
                  <a:off x="3590" y="2279"/>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5" name="Freeform 314">
                  <a:extLst>
                    <a:ext uri="{FF2B5EF4-FFF2-40B4-BE49-F238E27FC236}">
                      <a16:creationId xmlns:a16="http://schemas.microsoft.com/office/drawing/2014/main" id="{1D574566-5C9E-36C7-9C92-AE95D1B53AA9}"/>
                    </a:ext>
                  </a:extLst>
                </p:cNvPr>
                <p:cNvSpPr>
                  <a:spLocks noEditPoints="1"/>
                </p:cNvSpPr>
                <p:nvPr/>
              </p:nvSpPr>
              <p:spPr bwMode="auto">
                <a:xfrm>
                  <a:off x="3588" y="2277"/>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86" name="Freeform 315">
                  <a:extLst>
                    <a:ext uri="{FF2B5EF4-FFF2-40B4-BE49-F238E27FC236}">
                      <a16:creationId xmlns:a16="http://schemas.microsoft.com/office/drawing/2014/main" id="{66930800-5BCF-C1B3-77A4-F66448A5BE83}"/>
                    </a:ext>
                  </a:extLst>
                </p:cNvPr>
                <p:cNvSpPr>
                  <a:spLocks/>
                </p:cNvSpPr>
                <p:nvPr/>
              </p:nvSpPr>
              <p:spPr bwMode="auto">
                <a:xfrm>
                  <a:off x="3639" y="2279"/>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7" name="Freeform 316">
                  <a:extLst>
                    <a:ext uri="{FF2B5EF4-FFF2-40B4-BE49-F238E27FC236}">
                      <a16:creationId xmlns:a16="http://schemas.microsoft.com/office/drawing/2014/main" id="{98FB3274-A213-E8D0-C9DC-7E1E3D283C80}"/>
                    </a:ext>
                  </a:extLst>
                </p:cNvPr>
                <p:cNvSpPr>
                  <a:spLocks noEditPoints="1"/>
                </p:cNvSpPr>
                <p:nvPr/>
              </p:nvSpPr>
              <p:spPr bwMode="auto">
                <a:xfrm>
                  <a:off x="3637" y="2277"/>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88" name="Freeform 317">
                  <a:extLst>
                    <a:ext uri="{FF2B5EF4-FFF2-40B4-BE49-F238E27FC236}">
                      <a16:creationId xmlns:a16="http://schemas.microsoft.com/office/drawing/2014/main" id="{16159E40-C7F7-BD51-1A49-2059E7D07659}"/>
                    </a:ext>
                  </a:extLst>
                </p:cNvPr>
                <p:cNvSpPr>
                  <a:spLocks/>
                </p:cNvSpPr>
                <p:nvPr/>
              </p:nvSpPr>
              <p:spPr bwMode="auto">
                <a:xfrm>
                  <a:off x="3688" y="2216"/>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9" name="Freeform 318">
                  <a:extLst>
                    <a:ext uri="{FF2B5EF4-FFF2-40B4-BE49-F238E27FC236}">
                      <a16:creationId xmlns:a16="http://schemas.microsoft.com/office/drawing/2014/main" id="{1F9CCEC3-4750-ECF0-8E39-7525E31C39AC}"/>
                    </a:ext>
                  </a:extLst>
                </p:cNvPr>
                <p:cNvSpPr>
                  <a:spLocks noEditPoints="1"/>
                </p:cNvSpPr>
                <p:nvPr/>
              </p:nvSpPr>
              <p:spPr bwMode="auto">
                <a:xfrm>
                  <a:off x="3685" y="221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90" name="Freeform 319">
                  <a:extLst>
                    <a:ext uri="{FF2B5EF4-FFF2-40B4-BE49-F238E27FC236}">
                      <a16:creationId xmlns:a16="http://schemas.microsoft.com/office/drawing/2014/main" id="{0C3818A3-DBA0-9787-A8B9-FB552AC2BDA3}"/>
                    </a:ext>
                  </a:extLst>
                </p:cNvPr>
                <p:cNvSpPr>
                  <a:spLocks/>
                </p:cNvSpPr>
                <p:nvPr/>
              </p:nvSpPr>
              <p:spPr bwMode="auto">
                <a:xfrm>
                  <a:off x="3737" y="221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1" name="Freeform 320">
                  <a:extLst>
                    <a:ext uri="{FF2B5EF4-FFF2-40B4-BE49-F238E27FC236}">
                      <a16:creationId xmlns:a16="http://schemas.microsoft.com/office/drawing/2014/main" id="{D5258C12-CCA2-0229-D163-8900322CC370}"/>
                    </a:ext>
                  </a:extLst>
                </p:cNvPr>
                <p:cNvSpPr>
                  <a:spLocks noEditPoints="1"/>
                </p:cNvSpPr>
                <p:nvPr/>
              </p:nvSpPr>
              <p:spPr bwMode="auto">
                <a:xfrm>
                  <a:off x="3735" y="221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92" name="Freeform 321">
                  <a:extLst>
                    <a:ext uri="{FF2B5EF4-FFF2-40B4-BE49-F238E27FC236}">
                      <a16:creationId xmlns:a16="http://schemas.microsoft.com/office/drawing/2014/main" id="{998CF18A-B454-6D16-5AA1-F7610B60C63B}"/>
                    </a:ext>
                  </a:extLst>
                </p:cNvPr>
                <p:cNvSpPr>
                  <a:spLocks/>
                </p:cNvSpPr>
                <p:nvPr/>
              </p:nvSpPr>
              <p:spPr bwMode="auto">
                <a:xfrm>
                  <a:off x="3785" y="221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3" name="Freeform 322">
                  <a:extLst>
                    <a:ext uri="{FF2B5EF4-FFF2-40B4-BE49-F238E27FC236}">
                      <a16:creationId xmlns:a16="http://schemas.microsoft.com/office/drawing/2014/main" id="{1F68D35B-5C2E-C40D-9B60-423B32A6C97B}"/>
                    </a:ext>
                  </a:extLst>
                </p:cNvPr>
                <p:cNvSpPr>
                  <a:spLocks noEditPoints="1"/>
                </p:cNvSpPr>
                <p:nvPr/>
              </p:nvSpPr>
              <p:spPr bwMode="auto">
                <a:xfrm>
                  <a:off x="3783" y="221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94" name="Freeform 323">
                  <a:extLst>
                    <a:ext uri="{FF2B5EF4-FFF2-40B4-BE49-F238E27FC236}">
                      <a16:creationId xmlns:a16="http://schemas.microsoft.com/office/drawing/2014/main" id="{1F13ECDD-AAEF-20E3-5139-C3FFED013A06}"/>
                    </a:ext>
                  </a:extLst>
                </p:cNvPr>
                <p:cNvSpPr>
                  <a:spLocks/>
                </p:cNvSpPr>
                <p:nvPr/>
              </p:nvSpPr>
              <p:spPr bwMode="auto">
                <a:xfrm>
                  <a:off x="3835" y="2216"/>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5" name="Freeform 324">
                  <a:extLst>
                    <a:ext uri="{FF2B5EF4-FFF2-40B4-BE49-F238E27FC236}">
                      <a16:creationId xmlns:a16="http://schemas.microsoft.com/office/drawing/2014/main" id="{F5052842-6D4F-2AB7-F96A-21B832503238}"/>
                    </a:ext>
                  </a:extLst>
                </p:cNvPr>
                <p:cNvSpPr>
                  <a:spLocks noEditPoints="1"/>
                </p:cNvSpPr>
                <p:nvPr/>
              </p:nvSpPr>
              <p:spPr bwMode="auto">
                <a:xfrm>
                  <a:off x="3832" y="2214"/>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96" name="Freeform 325">
                  <a:extLst>
                    <a:ext uri="{FF2B5EF4-FFF2-40B4-BE49-F238E27FC236}">
                      <a16:creationId xmlns:a16="http://schemas.microsoft.com/office/drawing/2014/main" id="{78E52213-A7FA-9EAB-E0E7-EA6B377B3135}"/>
                    </a:ext>
                  </a:extLst>
                </p:cNvPr>
                <p:cNvSpPr>
                  <a:spLocks/>
                </p:cNvSpPr>
                <p:nvPr/>
              </p:nvSpPr>
              <p:spPr bwMode="auto">
                <a:xfrm>
                  <a:off x="3883" y="2153"/>
                  <a:ext cx="41" cy="41"/>
                </a:xfrm>
                <a:custGeom>
                  <a:avLst/>
                  <a:gdLst>
                    <a:gd name="T0" fmla="*/ 21 w 41"/>
                    <a:gd name="T1" fmla="*/ 0 h 41"/>
                    <a:gd name="T2" fmla="*/ 41 w 41"/>
                    <a:gd name="T3" fmla="*/ 20 h 41"/>
                    <a:gd name="T4" fmla="*/ 21 w 41"/>
                    <a:gd name="T5" fmla="*/ 41 h 41"/>
                    <a:gd name="T6" fmla="*/ 0 w 41"/>
                    <a:gd name="T7" fmla="*/ 20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7" name="Freeform 326">
                  <a:extLst>
                    <a:ext uri="{FF2B5EF4-FFF2-40B4-BE49-F238E27FC236}">
                      <a16:creationId xmlns:a16="http://schemas.microsoft.com/office/drawing/2014/main" id="{54DC1F1F-92CB-BB6D-6B55-DC0636E72728}"/>
                    </a:ext>
                  </a:extLst>
                </p:cNvPr>
                <p:cNvSpPr>
                  <a:spLocks noEditPoints="1"/>
                </p:cNvSpPr>
                <p:nvPr/>
              </p:nvSpPr>
              <p:spPr bwMode="auto">
                <a:xfrm>
                  <a:off x="3881" y="215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898" name="Freeform 327">
                  <a:extLst>
                    <a:ext uri="{FF2B5EF4-FFF2-40B4-BE49-F238E27FC236}">
                      <a16:creationId xmlns:a16="http://schemas.microsoft.com/office/drawing/2014/main" id="{58425D3E-E835-723D-CC7C-BA5E62A7D5FA}"/>
                    </a:ext>
                  </a:extLst>
                </p:cNvPr>
                <p:cNvSpPr>
                  <a:spLocks/>
                </p:cNvSpPr>
                <p:nvPr/>
              </p:nvSpPr>
              <p:spPr bwMode="auto">
                <a:xfrm>
                  <a:off x="3932" y="2153"/>
                  <a:ext cx="42" cy="41"/>
                </a:xfrm>
                <a:custGeom>
                  <a:avLst/>
                  <a:gdLst>
                    <a:gd name="T0" fmla="*/ 21 w 42"/>
                    <a:gd name="T1" fmla="*/ 0 h 41"/>
                    <a:gd name="T2" fmla="*/ 42 w 42"/>
                    <a:gd name="T3" fmla="*/ 20 h 41"/>
                    <a:gd name="T4" fmla="*/ 21 w 42"/>
                    <a:gd name="T5" fmla="*/ 41 h 41"/>
                    <a:gd name="T6" fmla="*/ 0 w 42"/>
                    <a:gd name="T7" fmla="*/ 20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9" name="Freeform 328">
                  <a:extLst>
                    <a:ext uri="{FF2B5EF4-FFF2-40B4-BE49-F238E27FC236}">
                      <a16:creationId xmlns:a16="http://schemas.microsoft.com/office/drawing/2014/main" id="{AC65E3F4-9410-5F7C-D27E-00DCECD727EA}"/>
                    </a:ext>
                  </a:extLst>
                </p:cNvPr>
                <p:cNvSpPr>
                  <a:spLocks noEditPoints="1"/>
                </p:cNvSpPr>
                <p:nvPr/>
              </p:nvSpPr>
              <p:spPr bwMode="auto">
                <a:xfrm>
                  <a:off x="3930" y="215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00" name="Freeform 329">
                  <a:extLst>
                    <a:ext uri="{FF2B5EF4-FFF2-40B4-BE49-F238E27FC236}">
                      <a16:creationId xmlns:a16="http://schemas.microsoft.com/office/drawing/2014/main" id="{830C35D1-460F-A9D1-CF8E-3F75EC2220F4}"/>
                    </a:ext>
                  </a:extLst>
                </p:cNvPr>
                <p:cNvSpPr>
                  <a:spLocks/>
                </p:cNvSpPr>
                <p:nvPr/>
              </p:nvSpPr>
              <p:spPr bwMode="auto">
                <a:xfrm>
                  <a:off x="3981" y="2153"/>
                  <a:ext cx="42" cy="41"/>
                </a:xfrm>
                <a:custGeom>
                  <a:avLst/>
                  <a:gdLst>
                    <a:gd name="T0" fmla="*/ 21 w 42"/>
                    <a:gd name="T1" fmla="*/ 0 h 41"/>
                    <a:gd name="T2" fmla="*/ 42 w 42"/>
                    <a:gd name="T3" fmla="*/ 20 h 41"/>
                    <a:gd name="T4" fmla="*/ 21 w 42"/>
                    <a:gd name="T5" fmla="*/ 41 h 41"/>
                    <a:gd name="T6" fmla="*/ 0 w 42"/>
                    <a:gd name="T7" fmla="*/ 20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1" name="Freeform 330">
                  <a:extLst>
                    <a:ext uri="{FF2B5EF4-FFF2-40B4-BE49-F238E27FC236}">
                      <a16:creationId xmlns:a16="http://schemas.microsoft.com/office/drawing/2014/main" id="{39848A25-E91F-2C02-19A1-3FC030FF5A6F}"/>
                    </a:ext>
                  </a:extLst>
                </p:cNvPr>
                <p:cNvSpPr>
                  <a:spLocks noEditPoints="1"/>
                </p:cNvSpPr>
                <p:nvPr/>
              </p:nvSpPr>
              <p:spPr bwMode="auto">
                <a:xfrm>
                  <a:off x="3979" y="215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02" name="Freeform 331">
                  <a:extLst>
                    <a:ext uri="{FF2B5EF4-FFF2-40B4-BE49-F238E27FC236}">
                      <a16:creationId xmlns:a16="http://schemas.microsoft.com/office/drawing/2014/main" id="{D8199BF9-BAFB-4D46-F992-4A4B17E4A0F4}"/>
                    </a:ext>
                  </a:extLst>
                </p:cNvPr>
                <p:cNvSpPr>
                  <a:spLocks/>
                </p:cNvSpPr>
                <p:nvPr/>
              </p:nvSpPr>
              <p:spPr bwMode="auto">
                <a:xfrm>
                  <a:off x="4030" y="2153"/>
                  <a:ext cx="41" cy="41"/>
                </a:xfrm>
                <a:custGeom>
                  <a:avLst/>
                  <a:gdLst>
                    <a:gd name="T0" fmla="*/ 21 w 41"/>
                    <a:gd name="T1" fmla="*/ 0 h 41"/>
                    <a:gd name="T2" fmla="*/ 41 w 41"/>
                    <a:gd name="T3" fmla="*/ 20 h 41"/>
                    <a:gd name="T4" fmla="*/ 21 w 41"/>
                    <a:gd name="T5" fmla="*/ 41 h 41"/>
                    <a:gd name="T6" fmla="*/ 0 w 41"/>
                    <a:gd name="T7" fmla="*/ 20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3" name="Freeform 332">
                  <a:extLst>
                    <a:ext uri="{FF2B5EF4-FFF2-40B4-BE49-F238E27FC236}">
                      <a16:creationId xmlns:a16="http://schemas.microsoft.com/office/drawing/2014/main" id="{BBA7E06B-0B36-5CF4-85C0-A80BC591D593}"/>
                    </a:ext>
                  </a:extLst>
                </p:cNvPr>
                <p:cNvSpPr>
                  <a:spLocks noEditPoints="1"/>
                </p:cNvSpPr>
                <p:nvPr/>
              </p:nvSpPr>
              <p:spPr bwMode="auto">
                <a:xfrm>
                  <a:off x="4028" y="2150"/>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04" name="Freeform 333">
                  <a:extLst>
                    <a:ext uri="{FF2B5EF4-FFF2-40B4-BE49-F238E27FC236}">
                      <a16:creationId xmlns:a16="http://schemas.microsoft.com/office/drawing/2014/main" id="{818B55F5-D09A-995D-1254-9C58E704FE96}"/>
                    </a:ext>
                  </a:extLst>
                </p:cNvPr>
                <p:cNvSpPr>
                  <a:spLocks/>
                </p:cNvSpPr>
                <p:nvPr/>
              </p:nvSpPr>
              <p:spPr bwMode="auto">
                <a:xfrm>
                  <a:off x="4079" y="202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5" name="Freeform 334">
                  <a:extLst>
                    <a:ext uri="{FF2B5EF4-FFF2-40B4-BE49-F238E27FC236}">
                      <a16:creationId xmlns:a16="http://schemas.microsoft.com/office/drawing/2014/main" id="{AEBFB430-63B4-A0BA-7F7F-91A5BAA85705}"/>
                    </a:ext>
                  </a:extLst>
                </p:cNvPr>
                <p:cNvSpPr>
                  <a:spLocks noEditPoints="1"/>
                </p:cNvSpPr>
                <p:nvPr/>
              </p:nvSpPr>
              <p:spPr bwMode="auto">
                <a:xfrm>
                  <a:off x="4077"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06" name="Freeform 335">
                  <a:extLst>
                    <a:ext uri="{FF2B5EF4-FFF2-40B4-BE49-F238E27FC236}">
                      <a16:creationId xmlns:a16="http://schemas.microsoft.com/office/drawing/2014/main" id="{B178E3CB-F7F3-6191-38BF-F59BBE8D7821}"/>
                    </a:ext>
                  </a:extLst>
                </p:cNvPr>
                <p:cNvSpPr>
                  <a:spLocks/>
                </p:cNvSpPr>
                <p:nvPr/>
              </p:nvSpPr>
              <p:spPr bwMode="auto">
                <a:xfrm>
                  <a:off x="4128" y="202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7" name="Freeform 336">
                  <a:extLst>
                    <a:ext uri="{FF2B5EF4-FFF2-40B4-BE49-F238E27FC236}">
                      <a16:creationId xmlns:a16="http://schemas.microsoft.com/office/drawing/2014/main" id="{5FB2A35C-A5D6-D51E-2420-3FBB45D75525}"/>
                    </a:ext>
                  </a:extLst>
                </p:cNvPr>
                <p:cNvSpPr>
                  <a:spLocks noEditPoints="1"/>
                </p:cNvSpPr>
                <p:nvPr/>
              </p:nvSpPr>
              <p:spPr bwMode="auto">
                <a:xfrm>
                  <a:off x="4126"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08" name="Freeform 337">
                  <a:extLst>
                    <a:ext uri="{FF2B5EF4-FFF2-40B4-BE49-F238E27FC236}">
                      <a16:creationId xmlns:a16="http://schemas.microsoft.com/office/drawing/2014/main" id="{C4DF7859-66B7-4405-DD39-75BA4356408D}"/>
                    </a:ext>
                  </a:extLst>
                </p:cNvPr>
                <p:cNvSpPr>
                  <a:spLocks/>
                </p:cNvSpPr>
                <p:nvPr/>
              </p:nvSpPr>
              <p:spPr bwMode="auto">
                <a:xfrm>
                  <a:off x="4177" y="202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9" name="Freeform 338">
                  <a:extLst>
                    <a:ext uri="{FF2B5EF4-FFF2-40B4-BE49-F238E27FC236}">
                      <a16:creationId xmlns:a16="http://schemas.microsoft.com/office/drawing/2014/main" id="{3B0A6982-59E7-FFC1-D549-83FFC5C7E546}"/>
                    </a:ext>
                  </a:extLst>
                </p:cNvPr>
                <p:cNvSpPr>
                  <a:spLocks noEditPoints="1"/>
                </p:cNvSpPr>
                <p:nvPr/>
              </p:nvSpPr>
              <p:spPr bwMode="auto">
                <a:xfrm>
                  <a:off x="4175"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10" name="Freeform 339">
                  <a:extLst>
                    <a:ext uri="{FF2B5EF4-FFF2-40B4-BE49-F238E27FC236}">
                      <a16:creationId xmlns:a16="http://schemas.microsoft.com/office/drawing/2014/main" id="{F6F798F7-4866-0559-B9E2-EAFCA45A782C}"/>
                    </a:ext>
                  </a:extLst>
                </p:cNvPr>
                <p:cNvSpPr>
                  <a:spLocks/>
                </p:cNvSpPr>
                <p:nvPr/>
              </p:nvSpPr>
              <p:spPr bwMode="auto">
                <a:xfrm>
                  <a:off x="4225" y="202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1" name="Freeform 340">
                  <a:extLst>
                    <a:ext uri="{FF2B5EF4-FFF2-40B4-BE49-F238E27FC236}">
                      <a16:creationId xmlns:a16="http://schemas.microsoft.com/office/drawing/2014/main" id="{715F498F-069D-DAE3-3CD0-9C6E1BCAD334}"/>
                    </a:ext>
                  </a:extLst>
                </p:cNvPr>
                <p:cNvSpPr>
                  <a:spLocks noEditPoints="1"/>
                </p:cNvSpPr>
                <p:nvPr/>
              </p:nvSpPr>
              <p:spPr bwMode="auto">
                <a:xfrm>
                  <a:off x="4223"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12" name="Freeform 341">
                  <a:extLst>
                    <a:ext uri="{FF2B5EF4-FFF2-40B4-BE49-F238E27FC236}">
                      <a16:creationId xmlns:a16="http://schemas.microsoft.com/office/drawing/2014/main" id="{3677FD7C-98BC-1B11-D0EE-613B587B6218}"/>
                    </a:ext>
                  </a:extLst>
                </p:cNvPr>
                <p:cNvSpPr>
                  <a:spLocks/>
                </p:cNvSpPr>
                <p:nvPr/>
              </p:nvSpPr>
              <p:spPr bwMode="auto">
                <a:xfrm>
                  <a:off x="4275" y="2026"/>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3" name="Freeform 342">
                  <a:extLst>
                    <a:ext uri="{FF2B5EF4-FFF2-40B4-BE49-F238E27FC236}">
                      <a16:creationId xmlns:a16="http://schemas.microsoft.com/office/drawing/2014/main" id="{60CB057B-BC2B-B13D-7AA9-77990156B679}"/>
                    </a:ext>
                  </a:extLst>
                </p:cNvPr>
                <p:cNvSpPr>
                  <a:spLocks noEditPoints="1"/>
                </p:cNvSpPr>
                <p:nvPr/>
              </p:nvSpPr>
              <p:spPr bwMode="auto">
                <a:xfrm>
                  <a:off x="4272"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14" name="Freeform 343">
                  <a:extLst>
                    <a:ext uri="{FF2B5EF4-FFF2-40B4-BE49-F238E27FC236}">
                      <a16:creationId xmlns:a16="http://schemas.microsoft.com/office/drawing/2014/main" id="{4394F993-8D02-4DA2-1BBB-71FCE02E445F}"/>
                    </a:ext>
                  </a:extLst>
                </p:cNvPr>
                <p:cNvSpPr>
                  <a:spLocks/>
                </p:cNvSpPr>
                <p:nvPr/>
              </p:nvSpPr>
              <p:spPr bwMode="auto">
                <a:xfrm>
                  <a:off x="4324" y="202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5" name="Freeform 344">
                  <a:extLst>
                    <a:ext uri="{FF2B5EF4-FFF2-40B4-BE49-F238E27FC236}">
                      <a16:creationId xmlns:a16="http://schemas.microsoft.com/office/drawing/2014/main" id="{854CDF59-6E2F-B32E-710C-419E49289A61}"/>
                    </a:ext>
                  </a:extLst>
                </p:cNvPr>
                <p:cNvSpPr>
                  <a:spLocks noEditPoints="1"/>
                </p:cNvSpPr>
                <p:nvPr/>
              </p:nvSpPr>
              <p:spPr bwMode="auto">
                <a:xfrm>
                  <a:off x="4322"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16" name="Freeform 345">
                  <a:extLst>
                    <a:ext uri="{FF2B5EF4-FFF2-40B4-BE49-F238E27FC236}">
                      <a16:creationId xmlns:a16="http://schemas.microsoft.com/office/drawing/2014/main" id="{7925D516-F438-A89B-1372-9F8500EC227C}"/>
                    </a:ext>
                  </a:extLst>
                </p:cNvPr>
                <p:cNvSpPr>
                  <a:spLocks/>
                </p:cNvSpPr>
                <p:nvPr/>
              </p:nvSpPr>
              <p:spPr bwMode="auto">
                <a:xfrm>
                  <a:off x="4372" y="202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7" name="Freeform 346">
                  <a:extLst>
                    <a:ext uri="{FF2B5EF4-FFF2-40B4-BE49-F238E27FC236}">
                      <a16:creationId xmlns:a16="http://schemas.microsoft.com/office/drawing/2014/main" id="{248B99E0-8422-AE58-2B6B-05D1D8EE96B1}"/>
                    </a:ext>
                  </a:extLst>
                </p:cNvPr>
                <p:cNvSpPr>
                  <a:spLocks noEditPoints="1"/>
                </p:cNvSpPr>
                <p:nvPr/>
              </p:nvSpPr>
              <p:spPr bwMode="auto">
                <a:xfrm>
                  <a:off x="4370"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18" name="Freeform 347">
                  <a:extLst>
                    <a:ext uri="{FF2B5EF4-FFF2-40B4-BE49-F238E27FC236}">
                      <a16:creationId xmlns:a16="http://schemas.microsoft.com/office/drawing/2014/main" id="{0774BE79-7291-6100-B35E-B33D19F8F0CD}"/>
                    </a:ext>
                  </a:extLst>
                </p:cNvPr>
                <p:cNvSpPr>
                  <a:spLocks/>
                </p:cNvSpPr>
                <p:nvPr/>
              </p:nvSpPr>
              <p:spPr bwMode="auto">
                <a:xfrm>
                  <a:off x="4421" y="202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9" name="Freeform 348">
                  <a:extLst>
                    <a:ext uri="{FF2B5EF4-FFF2-40B4-BE49-F238E27FC236}">
                      <a16:creationId xmlns:a16="http://schemas.microsoft.com/office/drawing/2014/main" id="{120E4F43-C0D0-8EBB-53F2-BBCA4D711FCC}"/>
                    </a:ext>
                  </a:extLst>
                </p:cNvPr>
                <p:cNvSpPr>
                  <a:spLocks noEditPoints="1"/>
                </p:cNvSpPr>
                <p:nvPr/>
              </p:nvSpPr>
              <p:spPr bwMode="auto">
                <a:xfrm>
                  <a:off x="4419"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20" name="Freeform 349">
                  <a:extLst>
                    <a:ext uri="{FF2B5EF4-FFF2-40B4-BE49-F238E27FC236}">
                      <a16:creationId xmlns:a16="http://schemas.microsoft.com/office/drawing/2014/main" id="{F16B7ABE-511A-6C6C-F60D-D1A7785040AC}"/>
                    </a:ext>
                  </a:extLst>
                </p:cNvPr>
                <p:cNvSpPr>
                  <a:spLocks/>
                </p:cNvSpPr>
                <p:nvPr/>
              </p:nvSpPr>
              <p:spPr bwMode="auto">
                <a:xfrm>
                  <a:off x="4470" y="2026"/>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21" name="Freeform 350">
                  <a:extLst>
                    <a:ext uri="{FF2B5EF4-FFF2-40B4-BE49-F238E27FC236}">
                      <a16:creationId xmlns:a16="http://schemas.microsoft.com/office/drawing/2014/main" id="{190A31BB-A12B-5C3D-95EF-572C7B248487}"/>
                    </a:ext>
                  </a:extLst>
                </p:cNvPr>
                <p:cNvSpPr>
                  <a:spLocks noEditPoints="1"/>
                </p:cNvSpPr>
                <p:nvPr/>
              </p:nvSpPr>
              <p:spPr bwMode="auto">
                <a:xfrm>
                  <a:off x="4468"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22" name="Freeform 351">
                  <a:extLst>
                    <a:ext uri="{FF2B5EF4-FFF2-40B4-BE49-F238E27FC236}">
                      <a16:creationId xmlns:a16="http://schemas.microsoft.com/office/drawing/2014/main" id="{F388DC3E-5B26-AF70-5C08-04D9A4B903CD}"/>
                    </a:ext>
                  </a:extLst>
                </p:cNvPr>
                <p:cNvSpPr>
                  <a:spLocks/>
                </p:cNvSpPr>
                <p:nvPr/>
              </p:nvSpPr>
              <p:spPr bwMode="auto">
                <a:xfrm>
                  <a:off x="4519" y="2026"/>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23" name="Freeform 352">
                  <a:extLst>
                    <a:ext uri="{FF2B5EF4-FFF2-40B4-BE49-F238E27FC236}">
                      <a16:creationId xmlns:a16="http://schemas.microsoft.com/office/drawing/2014/main" id="{388418DC-BCC3-0569-7823-E66CC4A1976A}"/>
                    </a:ext>
                  </a:extLst>
                </p:cNvPr>
                <p:cNvSpPr>
                  <a:spLocks noEditPoints="1"/>
                </p:cNvSpPr>
                <p:nvPr/>
              </p:nvSpPr>
              <p:spPr bwMode="auto">
                <a:xfrm>
                  <a:off x="4517" y="2024"/>
                  <a:ext cx="46" cy="46"/>
                </a:xfrm>
                <a:custGeom>
                  <a:avLst/>
                  <a:gdLst>
                    <a:gd name="T0" fmla="*/ 0 w 258"/>
                    <a:gd name="T1" fmla="*/ 0 h 258"/>
                    <a:gd name="T2" fmla="*/ 0 w 258"/>
                    <a:gd name="T3" fmla="*/ 0 h 258"/>
                    <a:gd name="T4" fmla="*/ 0 w 258"/>
                    <a:gd name="T5" fmla="*/ 0 h 258"/>
                    <a:gd name="T6" fmla="*/ 0 w 258"/>
                    <a:gd name="T7" fmla="*/ 0 h 258"/>
                    <a:gd name="T8" fmla="*/ 0 w 258"/>
                    <a:gd name="T9" fmla="*/ 0 h 258"/>
                    <a:gd name="T10" fmla="*/ 0 w 258"/>
                    <a:gd name="T11" fmla="*/ 0 h 258"/>
                    <a:gd name="T12" fmla="*/ 0 w 258"/>
                    <a:gd name="T13" fmla="*/ 0 h 258"/>
                    <a:gd name="T14" fmla="*/ 0 w 258"/>
                    <a:gd name="T15" fmla="*/ 0 h 258"/>
                    <a:gd name="T16" fmla="*/ 0 w 258"/>
                    <a:gd name="T17" fmla="*/ 0 h 258"/>
                    <a:gd name="T18" fmla="*/ 0 w 258"/>
                    <a:gd name="T19" fmla="*/ 0 h 258"/>
                    <a:gd name="T20" fmla="*/ 0 w 258"/>
                    <a:gd name="T21" fmla="*/ 0 h 258"/>
                    <a:gd name="T22" fmla="*/ 0 w 258"/>
                    <a:gd name="T23" fmla="*/ 0 h 258"/>
                    <a:gd name="T24" fmla="*/ 0 w 258"/>
                    <a:gd name="T25" fmla="*/ 0 h 258"/>
                    <a:gd name="T26" fmla="*/ 0 w 258"/>
                    <a:gd name="T27" fmla="*/ 0 h 258"/>
                    <a:gd name="T28" fmla="*/ 0 w 258"/>
                    <a:gd name="T29" fmla="*/ 0 h 258"/>
                    <a:gd name="T30" fmla="*/ 0 w 258"/>
                    <a:gd name="T31" fmla="*/ 0 h 258"/>
                    <a:gd name="T32" fmla="*/ 0 w 258"/>
                    <a:gd name="T33" fmla="*/ 0 h 258"/>
                    <a:gd name="T34" fmla="*/ 0 w 258"/>
                    <a:gd name="T35" fmla="*/ 0 h 258"/>
                    <a:gd name="T36" fmla="*/ 0 w 258"/>
                    <a:gd name="T37" fmla="*/ 0 h 258"/>
                    <a:gd name="T38" fmla="*/ 0 w 258"/>
                    <a:gd name="T39" fmla="*/ 0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24" name="Rectangle 353">
                  <a:extLst>
                    <a:ext uri="{FF2B5EF4-FFF2-40B4-BE49-F238E27FC236}">
                      <a16:creationId xmlns:a16="http://schemas.microsoft.com/office/drawing/2014/main" id="{9A74A397-4DA2-CD70-DFA1-D3DDD546B16B}"/>
                    </a:ext>
                  </a:extLst>
                </p:cNvPr>
                <p:cNvSpPr>
                  <a:spLocks noChangeArrowheads="1"/>
                </p:cNvSpPr>
                <p:nvPr/>
              </p:nvSpPr>
              <p:spPr bwMode="auto">
                <a:xfrm>
                  <a:off x="2964" y="2452"/>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925" name="Rectangle 354">
                  <a:extLst>
                    <a:ext uri="{FF2B5EF4-FFF2-40B4-BE49-F238E27FC236}">
                      <a16:creationId xmlns:a16="http://schemas.microsoft.com/office/drawing/2014/main" id="{5E6EAB83-1AFD-BE92-747E-4FE646949ACA}"/>
                    </a:ext>
                  </a:extLst>
                </p:cNvPr>
                <p:cNvSpPr>
                  <a:spLocks noChangeArrowheads="1"/>
                </p:cNvSpPr>
                <p:nvPr/>
              </p:nvSpPr>
              <p:spPr bwMode="auto">
                <a:xfrm>
                  <a:off x="2964" y="2293"/>
                  <a:ext cx="66"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5</a:t>
                  </a:r>
                  <a:endParaRPr lang="en-US" altLang="en-US" dirty="0"/>
                </a:p>
              </p:txBody>
            </p:sp>
            <p:sp>
              <p:nvSpPr>
                <p:cNvPr id="926" name="Rectangle 355">
                  <a:extLst>
                    <a:ext uri="{FF2B5EF4-FFF2-40B4-BE49-F238E27FC236}">
                      <a16:creationId xmlns:a16="http://schemas.microsoft.com/office/drawing/2014/main" id="{85B09B82-9A0A-CC08-F007-A12FC6BC20BF}"/>
                    </a:ext>
                  </a:extLst>
                </p:cNvPr>
                <p:cNvSpPr>
                  <a:spLocks noChangeArrowheads="1"/>
                </p:cNvSpPr>
                <p:nvPr/>
              </p:nvSpPr>
              <p:spPr bwMode="auto">
                <a:xfrm>
                  <a:off x="2933" y="2134"/>
                  <a:ext cx="10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10</a:t>
                  </a:r>
                  <a:endParaRPr lang="en-US" altLang="en-US" dirty="0"/>
                </a:p>
              </p:txBody>
            </p:sp>
            <p:sp>
              <p:nvSpPr>
                <p:cNvPr id="927" name="Rectangle 356">
                  <a:extLst>
                    <a:ext uri="{FF2B5EF4-FFF2-40B4-BE49-F238E27FC236}">
                      <a16:creationId xmlns:a16="http://schemas.microsoft.com/office/drawing/2014/main" id="{28961E3C-B749-13DF-F4FE-38CF2A99DA7F}"/>
                    </a:ext>
                  </a:extLst>
                </p:cNvPr>
                <p:cNvSpPr>
                  <a:spLocks noChangeArrowheads="1"/>
                </p:cNvSpPr>
                <p:nvPr/>
              </p:nvSpPr>
              <p:spPr bwMode="auto">
                <a:xfrm>
                  <a:off x="2933" y="1976"/>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5</a:t>
                  </a:r>
                  <a:endParaRPr lang="en-US" altLang="en-US" dirty="0"/>
                </a:p>
              </p:txBody>
            </p:sp>
            <p:sp>
              <p:nvSpPr>
                <p:cNvPr id="928" name="Rectangle 357">
                  <a:extLst>
                    <a:ext uri="{FF2B5EF4-FFF2-40B4-BE49-F238E27FC236}">
                      <a16:creationId xmlns:a16="http://schemas.microsoft.com/office/drawing/2014/main" id="{C1C3FDB4-77FF-69CC-29AC-495FDEFB11A5}"/>
                    </a:ext>
                  </a:extLst>
                </p:cNvPr>
                <p:cNvSpPr>
                  <a:spLocks noChangeArrowheads="1"/>
                </p:cNvSpPr>
                <p:nvPr/>
              </p:nvSpPr>
              <p:spPr bwMode="auto">
                <a:xfrm>
                  <a:off x="3058" y="2529"/>
                  <a:ext cx="6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929" name="Rectangle 358">
                  <a:extLst>
                    <a:ext uri="{FF2B5EF4-FFF2-40B4-BE49-F238E27FC236}">
                      <a16:creationId xmlns:a16="http://schemas.microsoft.com/office/drawing/2014/main" id="{716BC9C7-20CA-F752-5D5C-3C69C271986D}"/>
                    </a:ext>
                  </a:extLst>
                </p:cNvPr>
                <p:cNvSpPr>
                  <a:spLocks noChangeArrowheads="1"/>
                </p:cNvSpPr>
                <p:nvPr/>
              </p:nvSpPr>
              <p:spPr bwMode="auto">
                <a:xfrm>
                  <a:off x="3156" y="2529"/>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930" name="Rectangle 359">
                  <a:extLst>
                    <a:ext uri="{FF2B5EF4-FFF2-40B4-BE49-F238E27FC236}">
                      <a16:creationId xmlns:a16="http://schemas.microsoft.com/office/drawing/2014/main" id="{20AE26BC-A272-7E80-9DE6-7508CA33589A}"/>
                    </a:ext>
                  </a:extLst>
                </p:cNvPr>
                <p:cNvSpPr>
                  <a:spLocks noChangeArrowheads="1"/>
                </p:cNvSpPr>
                <p:nvPr/>
              </p:nvSpPr>
              <p:spPr bwMode="auto">
                <a:xfrm>
                  <a:off x="3254" y="2529"/>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931" name="Rectangle 360">
                  <a:extLst>
                    <a:ext uri="{FF2B5EF4-FFF2-40B4-BE49-F238E27FC236}">
                      <a16:creationId xmlns:a16="http://schemas.microsoft.com/office/drawing/2014/main" id="{9702D327-3827-D06E-13B3-C681606AF5A2}"/>
                    </a:ext>
                  </a:extLst>
                </p:cNvPr>
                <p:cNvSpPr>
                  <a:spLocks noChangeArrowheads="1"/>
                </p:cNvSpPr>
                <p:nvPr/>
              </p:nvSpPr>
              <p:spPr bwMode="auto">
                <a:xfrm>
                  <a:off x="3352" y="2529"/>
                  <a:ext cx="6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932" name="Rectangle 361">
                  <a:extLst>
                    <a:ext uri="{FF2B5EF4-FFF2-40B4-BE49-F238E27FC236}">
                      <a16:creationId xmlns:a16="http://schemas.microsoft.com/office/drawing/2014/main" id="{5D110EE5-C8B8-1BFB-8A9F-8436561660BD}"/>
                    </a:ext>
                  </a:extLst>
                </p:cNvPr>
                <p:cNvSpPr>
                  <a:spLocks noChangeArrowheads="1"/>
                </p:cNvSpPr>
                <p:nvPr/>
              </p:nvSpPr>
              <p:spPr bwMode="auto">
                <a:xfrm>
                  <a:off x="3449" y="2529"/>
                  <a:ext cx="6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933" name="Rectangle 362">
                  <a:extLst>
                    <a:ext uri="{FF2B5EF4-FFF2-40B4-BE49-F238E27FC236}">
                      <a16:creationId xmlns:a16="http://schemas.microsoft.com/office/drawing/2014/main" id="{98D60B43-5B83-B0E0-31BE-2D116A9C1B17}"/>
                    </a:ext>
                  </a:extLst>
                </p:cNvPr>
                <p:cNvSpPr>
                  <a:spLocks noChangeArrowheads="1"/>
                </p:cNvSpPr>
                <p:nvPr/>
              </p:nvSpPr>
              <p:spPr bwMode="auto">
                <a:xfrm>
                  <a:off x="3532"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934" name="Rectangle 363">
                  <a:extLst>
                    <a:ext uri="{FF2B5EF4-FFF2-40B4-BE49-F238E27FC236}">
                      <a16:creationId xmlns:a16="http://schemas.microsoft.com/office/drawing/2014/main" id="{32734036-1AF0-EA78-3E5C-DD9B2AB8F7F1}"/>
                    </a:ext>
                  </a:extLst>
                </p:cNvPr>
                <p:cNvSpPr>
                  <a:spLocks noChangeArrowheads="1"/>
                </p:cNvSpPr>
                <p:nvPr/>
              </p:nvSpPr>
              <p:spPr bwMode="auto">
                <a:xfrm>
                  <a:off x="3630"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935" name="Rectangle 364">
                  <a:extLst>
                    <a:ext uri="{FF2B5EF4-FFF2-40B4-BE49-F238E27FC236}">
                      <a16:creationId xmlns:a16="http://schemas.microsoft.com/office/drawing/2014/main" id="{1DC06DA0-4333-7D32-CEBD-74C9E25BB9C1}"/>
                    </a:ext>
                  </a:extLst>
                </p:cNvPr>
                <p:cNvSpPr>
                  <a:spLocks noChangeArrowheads="1"/>
                </p:cNvSpPr>
                <p:nvPr/>
              </p:nvSpPr>
              <p:spPr bwMode="auto">
                <a:xfrm>
                  <a:off x="3728"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936" name="Rectangle 365">
                  <a:extLst>
                    <a:ext uri="{FF2B5EF4-FFF2-40B4-BE49-F238E27FC236}">
                      <a16:creationId xmlns:a16="http://schemas.microsoft.com/office/drawing/2014/main" id="{125AFF29-62D7-42A0-9758-E053D4652AFE}"/>
                    </a:ext>
                  </a:extLst>
                </p:cNvPr>
                <p:cNvSpPr>
                  <a:spLocks noChangeArrowheads="1"/>
                </p:cNvSpPr>
                <p:nvPr/>
              </p:nvSpPr>
              <p:spPr bwMode="auto">
                <a:xfrm>
                  <a:off x="3826" y="2529"/>
                  <a:ext cx="99"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937" name="Rectangle 366">
                  <a:extLst>
                    <a:ext uri="{FF2B5EF4-FFF2-40B4-BE49-F238E27FC236}">
                      <a16:creationId xmlns:a16="http://schemas.microsoft.com/office/drawing/2014/main" id="{59495F65-499E-B12E-F884-190796F4AE8F}"/>
                    </a:ext>
                  </a:extLst>
                </p:cNvPr>
                <p:cNvSpPr>
                  <a:spLocks noChangeArrowheads="1"/>
                </p:cNvSpPr>
                <p:nvPr/>
              </p:nvSpPr>
              <p:spPr bwMode="auto">
                <a:xfrm>
                  <a:off x="3923"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938" name="Rectangle 367">
                  <a:extLst>
                    <a:ext uri="{FF2B5EF4-FFF2-40B4-BE49-F238E27FC236}">
                      <a16:creationId xmlns:a16="http://schemas.microsoft.com/office/drawing/2014/main" id="{DB2A3492-FBAD-2E78-A002-1192B24A5FB4}"/>
                    </a:ext>
                  </a:extLst>
                </p:cNvPr>
                <p:cNvSpPr>
                  <a:spLocks noChangeArrowheads="1"/>
                </p:cNvSpPr>
                <p:nvPr/>
              </p:nvSpPr>
              <p:spPr bwMode="auto">
                <a:xfrm>
                  <a:off x="4021"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939" name="Rectangle 368">
                  <a:extLst>
                    <a:ext uri="{FF2B5EF4-FFF2-40B4-BE49-F238E27FC236}">
                      <a16:creationId xmlns:a16="http://schemas.microsoft.com/office/drawing/2014/main" id="{8711899F-882C-9F59-114B-C27F85201B25}"/>
                    </a:ext>
                  </a:extLst>
                </p:cNvPr>
                <p:cNvSpPr>
                  <a:spLocks noChangeArrowheads="1"/>
                </p:cNvSpPr>
                <p:nvPr/>
              </p:nvSpPr>
              <p:spPr bwMode="auto">
                <a:xfrm>
                  <a:off x="4119"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940" name="Rectangle 369">
                  <a:extLst>
                    <a:ext uri="{FF2B5EF4-FFF2-40B4-BE49-F238E27FC236}">
                      <a16:creationId xmlns:a16="http://schemas.microsoft.com/office/drawing/2014/main" id="{4063B70A-3D13-6ABB-126A-324688857747}"/>
                    </a:ext>
                  </a:extLst>
                </p:cNvPr>
                <p:cNvSpPr>
                  <a:spLocks noChangeArrowheads="1"/>
                </p:cNvSpPr>
                <p:nvPr/>
              </p:nvSpPr>
              <p:spPr bwMode="auto">
                <a:xfrm>
                  <a:off x="4217"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941" name="Rectangle 370">
                  <a:extLst>
                    <a:ext uri="{FF2B5EF4-FFF2-40B4-BE49-F238E27FC236}">
                      <a16:creationId xmlns:a16="http://schemas.microsoft.com/office/drawing/2014/main" id="{5BC369C8-0148-56D1-06C6-0DE439529B51}"/>
                    </a:ext>
                  </a:extLst>
                </p:cNvPr>
                <p:cNvSpPr>
                  <a:spLocks noChangeArrowheads="1"/>
                </p:cNvSpPr>
                <p:nvPr/>
              </p:nvSpPr>
              <p:spPr bwMode="auto">
                <a:xfrm>
                  <a:off x="4315" y="2529"/>
                  <a:ext cx="99"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942" name="Rectangle 371">
                  <a:extLst>
                    <a:ext uri="{FF2B5EF4-FFF2-40B4-BE49-F238E27FC236}">
                      <a16:creationId xmlns:a16="http://schemas.microsoft.com/office/drawing/2014/main" id="{C56C8DF6-4150-C121-7095-474C628A50BB}"/>
                    </a:ext>
                  </a:extLst>
                </p:cNvPr>
                <p:cNvSpPr>
                  <a:spLocks noChangeArrowheads="1"/>
                </p:cNvSpPr>
                <p:nvPr/>
              </p:nvSpPr>
              <p:spPr bwMode="auto">
                <a:xfrm>
                  <a:off x="4412"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943" name="Rectangle 372">
                  <a:extLst>
                    <a:ext uri="{FF2B5EF4-FFF2-40B4-BE49-F238E27FC236}">
                      <a16:creationId xmlns:a16="http://schemas.microsoft.com/office/drawing/2014/main" id="{7B892596-25E9-0199-6AEC-BE3A6461F26E}"/>
                    </a:ext>
                  </a:extLst>
                </p:cNvPr>
                <p:cNvSpPr>
                  <a:spLocks noChangeArrowheads="1"/>
                </p:cNvSpPr>
                <p:nvPr/>
              </p:nvSpPr>
              <p:spPr bwMode="auto">
                <a:xfrm>
                  <a:off x="4510" y="2529"/>
                  <a:ext cx="10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944" name="Rectangle 373">
                  <a:extLst>
                    <a:ext uri="{FF2B5EF4-FFF2-40B4-BE49-F238E27FC236}">
                      <a16:creationId xmlns:a16="http://schemas.microsoft.com/office/drawing/2014/main" id="{BCA80A87-75EE-E634-62AB-EEBFF5F18BE1}"/>
                    </a:ext>
                  </a:extLst>
                </p:cNvPr>
                <p:cNvSpPr>
                  <a:spLocks noChangeArrowheads="1"/>
                </p:cNvSpPr>
                <p:nvPr/>
              </p:nvSpPr>
              <p:spPr bwMode="auto">
                <a:xfrm>
                  <a:off x="3564" y="1810"/>
                  <a:ext cx="480"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Stepwise</a:t>
                  </a:r>
                  <a:endParaRPr lang="en-US" altLang="en-US" dirty="0"/>
                </a:p>
              </p:txBody>
            </p:sp>
            <p:sp>
              <p:nvSpPr>
                <p:cNvPr id="945" name="Freeform 374">
                  <a:extLst>
                    <a:ext uri="{FF2B5EF4-FFF2-40B4-BE49-F238E27FC236}">
                      <a16:creationId xmlns:a16="http://schemas.microsoft.com/office/drawing/2014/main" id="{4643D582-0175-8499-3BEB-FF63EB3B1B9B}"/>
                    </a:ext>
                  </a:extLst>
                </p:cNvPr>
                <p:cNvSpPr>
                  <a:spLocks noEditPoints="1"/>
                </p:cNvSpPr>
                <p:nvPr/>
              </p:nvSpPr>
              <p:spPr bwMode="auto">
                <a:xfrm>
                  <a:off x="2892" y="1763"/>
                  <a:ext cx="1743" cy="879"/>
                </a:xfrm>
                <a:custGeom>
                  <a:avLst/>
                  <a:gdLst>
                    <a:gd name="T0" fmla="*/ 0 w 9772"/>
                    <a:gd name="T1" fmla="*/ 0 h 4936"/>
                    <a:gd name="T2" fmla="*/ 0 w 9772"/>
                    <a:gd name="T3" fmla="*/ 0 h 4936"/>
                    <a:gd name="T4" fmla="*/ 0 w 9772"/>
                    <a:gd name="T5" fmla="*/ 0 h 4936"/>
                    <a:gd name="T6" fmla="*/ 0 w 9772"/>
                    <a:gd name="T7" fmla="*/ 0 h 4936"/>
                    <a:gd name="T8" fmla="*/ 0 w 9772"/>
                    <a:gd name="T9" fmla="*/ 0 h 4936"/>
                    <a:gd name="T10" fmla="*/ 0 w 9772"/>
                    <a:gd name="T11" fmla="*/ 0 h 4936"/>
                    <a:gd name="T12" fmla="*/ 0 w 9772"/>
                    <a:gd name="T13" fmla="*/ 0 h 4936"/>
                    <a:gd name="T14" fmla="*/ 0 w 9772"/>
                    <a:gd name="T15" fmla="*/ 0 h 4936"/>
                    <a:gd name="T16" fmla="*/ 0 w 9772"/>
                    <a:gd name="T17" fmla="*/ 0 h 4936"/>
                    <a:gd name="T18" fmla="*/ 0 w 9772"/>
                    <a:gd name="T19" fmla="*/ 0 h 4936"/>
                    <a:gd name="T20" fmla="*/ 0 w 9772"/>
                    <a:gd name="T21" fmla="*/ 0 h 4936"/>
                    <a:gd name="T22" fmla="*/ 0 w 9772"/>
                    <a:gd name="T23" fmla="*/ 0 h 4936"/>
                    <a:gd name="T24" fmla="*/ 0 w 9772"/>
                    <a:gd name="T25" fmla="*/ 0 h 4936"/>
                    <a:gd name="T26" fmla="*/ 0 w 9772"/>
                    <a:gd name="T27" fmla="*/ 0 h 4936"/>
                    <a:gd name="T28" fmla="*/ 0 w 9772"/>
                    <a:gd name="T29" fmla="*/ 0 h 4936"/>
                    <a:gd name="T30" fmla="*/ 0 w 9772"/>
                    <a:gd name="T31" fmla="*/ 0 h 4936"/>
                    <a:gd name="T32" fmla="*/ 0 w 9772"/>
                    <a:gd name="T33" fmla="*/ 0 h 4936"/>
                    <a:gd name="T34" fmla="*/ 0 w 9772"/>
                    <a:gd name="T35" fmla="*/ 0 h 49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772" h="4936">
                      <a:moveTo>
                        <a:pt x="0" y="12"/>
                      </a:moveTo>
                      <a:cubicBezTo>
                        <a:pt x="0" y="6"/>
                        <a:pt x="6" y="0"/>
                        <a:pt x="12" y="0"/>
                      </a:cubicBezTo>
                      <a:lnTo>
                        <a:pt x="9760" y="0"/>
                      </a:lnTo>
                      <a:cubicBezTo>
                        <a:pt x="9767" y="0"/>
                        <a:pt x="9772" y="6"/>
                        <a:pt x="9772" y="12"/>
                      </a:cubicBezTo>
                      <a:lnTo>
                        <a:pt x="9772" y="4924"/>
                      </a:lnTo>
                      <a:cubicBezTo>
                        <a:pt x="9772" y="4931"/>
                        <a:pt x="9767" y="4936"/>
                        <a:pt x="9760" y="4936"/>
                      </a:cubicBezTo>
                      <a:lnTo>
                        <a:pt x="12" y="4936"/>
                      </a:lnTo>
                      <a:cubicBezTo>
                        <a:pt x="6" y="4936"/>
                        <a:pt x="0" y="4931"/>
                        <a:pt x="0" y="4924"/>
                      </a:cubicBezTo>
                      <a:lnTo>
                        <a:pt x="0" y="12"/>
                      </a:lnTo>
                      <a:close/>
                      <a:moveTo>
                        <a:pt x="24" y="4924"/>
                      </a:moveTo>
                      <a:lnTo>
                        <a:pt x="12" y="4912"/>
                      </a:lnTo>
                      <a:lnTo>
                        <a:pt x="9760" y="4912"/>
                      </a:lnTo>
                      <a:lnTo>
                        <a:pt x="9748" y="4924"/>
                      </a:lnTo>
                      <a:lnTo>
                        <a:pt x="9748" y="12"/>
                      </a:lnTo>
                      <a:lnTo>
                        <a:pt x="9760" y="24"/>
                      </a:lnTo>
                      <a:lnTo>
                        <a:pt x="12" y="24"/>
                      </a:lnTo>
                      <a:lnTo>
                        <a:pt x="24" y="12"/>
                      </a:lnTo>
                      <a:lnTo>
                        <a:pt x="24" y="4924"/>
                      </a:lnTo>
                      <a:close/>
                    </a:path>
                  </a:pathLst>
                </a:custGeom>
                <a:solidFill>
                  <a:srgbClr val="868686"/>
                </a:solidFill>
                <a:ln w="0" cap="flat">
                  <a:solidFill>
                    <a:srgbClr val="868686"/>
                  </a:solidFill>
                  <a:prstDash val="solid"/>
                  <a:round/>
                  <a:headEnd/>
                  <a:tailEnd/>
                </a:ln>
              </p:spPr>
              <p:txBody>
                <a:bodyPr/>
                <a:lstStyle/>
                <a:p>
                  <a:endParaRPr lang="en-US" dirty="0"/>
                </a:p>
              </p:txBody>
            </p:sp>
            <p:sp>
              <p:nvSpPr>
                <p:cNvPr id="946" name="Rectangle 375">
                  <a:extLst>
                    <a:ext uri="{FF2B5EF4-FFF2-40B4-BE49-F238E27FC236}">
                      <a16:creationId xmlns:a16="http://schemas.microsoft.com/office/drawing/2014/main" id="{8FE40CC1-31CE-314F-621D-EFAEA51BE802}"/>
                    </a:ext>
                  </a:extLst>
                </p:cNvPr>
                <p:cNvSpPr>
                  <a:spLocks noChangeArrowheads="1"/>
                </p:cNvSpPr>
                <p:nvPr/>
              </p:nvSpPr>
              <p:spPr bwMode="auto">
                <a:xfrm>
                  <a:off x="2883" y="2675"/>
                  <a:ext cx="1744" cy="877"/>
                </a:xfrm>
                <a:prstGeom prst="rect">
                  <a:avLst/>
                </a:prstGeom>
                <a:solidFill>
                  <a:srgbClr val="FFFFFF"/>
                </a:solidFill>
                <a:ln w="9525">
                  <a:no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47" name="Rectangle 376">
                  <a:extLst>
                    <a:ext uri="{FF2B5EF4-FFF2-40B4-BE49-F238E27FC236}">
                      <a16:creationId xmlns:a16="http://schemas.microsoft.com/office/drawing/2014/main" id="{105972A6-6B26-CCC7-648C-7254DC55216B}"/>
                    </a:ext>
                  </a:extLst>
                </p:cNvPr>
                <p:cNvSpPr>
                  <a:spLocks noChangeArrowheads="1"/>
                </p:cNvSpPr>
                <p:nvPr/>
              </p:nvSpPr>
              <p:spPr bwMode="auto">
                <a:xfrm>
                  <a:off x="3067" y="2925"/>
                  <a:ext cx="1491" cy="4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48" name="Freeform 377">
                  <a:extLst>
                    <a:ext uri="{FF2B5EF4-FFF2-40B4-BE49-F238E27FC236}">
                      <a16:creationId xmlns:a16="http://schemas.microsoft.com/office/drawing/2014/main" id="{EDFCA076-647C-1E97-0020-BD9E68A0D93D}"/>
                    </a:ext>
                  </a:extLst>
                </p:cNvPr>
                <p:cNvSpPr>
                  <a:spLocks noEditPoints="1"/>
                </p:cNvSpPr>
                <p:nvPr/>
              </p:nvSpPr>
              <p:spPr bwMode="auto">
                <a:xfrm>
                  <a:off x="3067" y="2923"/>
                  <a:ext cx="1491" cy="387"/>
                </a:xfrm>
                <a:custGeom>
                  <a:avLst/>
                  <a:gdLst>
                    <a:gd name="T0" fmla="*/ 0 w 1491"/>
                    <a:gd name="T1" fmla="*/ 382 h 387"/>
                    <a:gd name="T2" fmla="*/ 1491 w 1491"/>
                    <a:gd name="T3" fmla="*/ 382 h 387"/>
                    <a:gd name="T4" fmla="*/ 1491 w 1491"/>
                    <a:gd name="T5" fmla="*/ 387 h 387"/>
                    <a:gd name="T6" fmla="*/ 0 w 1491"/>
                    <a:gd name="T7" fmla="*/ 387 h 387"/>
                    <a:gd name="T8" fmla="*/ 0 w 1491"/>
                    <a:gd name="T9" fmla="*/ 382 h 387"/>
                    <a:gd name="T10" fmla="*/ 0 w 1491"/>
                    <a:gd name="T11" fmla="*/ 287 h 387"/>
                    <a:gd name="T12" fmla="*/ 1491 w 1491"/>
                    <a:gd name="T13" fmla="*/ 287 h 387"/>
                    <a:gd name="T14" fmla="*/ 1491 w 1491"/>
                    <a:gd name="T15" fmla="*/ 291 h 387"/>
                    <a:gd name="T16" fmla="*/ 0 w 1491"/>
                    <a:gd name="T17" fmla="*/ 291 h 387"/>
                    <a:gd name="T18" fmla="*/ 0 w 1491"/>
                    <a:gd name="T19" fmla="*/ 287 h 387"/>
                    <a:gd name="T20" fmla="*/ 0 w 1491"/>
                    <a:gd name="T21" fmla="*/ 191 h 387"/>
                    <a:gd name="T22" fmla="*/ 1491 w 1491"/>
                    <a:gd name="T23" fmla="*/ 191 h 387"/>
                    <a:gd name="T24" fmla="*/ 1491 w 1491"/>
                    <a:gd name="T25" fmla="*/ 195 h 387"/>
                    <a:gd name="T26" fmla="*/ 0 w 1491"/>
                    <a:gd name="T27" fmla="*/ 195 h 387"/>
                    <a:gd name="T28" fmla="*/ 0 w 1491"/>
                    <a:gd name="T29" fmla="*/ 191 h 387"/>
                    <a:gd name="T30" fmla="*/ 0 w 1491"/>
                    <a:gd name="T31" fmla="*/ 95 h 387"/>
                    <a:gd name="T32" fmla="*/ 1491 w 1491"/>
                    <a:gd name="T33" fmla="*/ 95 h 387"/>
                    <a:gd name="T34" fmla="*/ 1491 w 1491"/>
                    <a:gd name="T35" fmla="*/ 100 h 387"/>
                    <a:gd name="T36" fmla="*/ 0 w 1491"/>
                    <a:gd name="T37" fmla="*/ 100 h 387"/>
                    <a:gd name="T38" fmla="*/ 0 w 1491"/>
                    <a:gd name="T39" fmla="*/ 95 h 387"/>
                    <a:gd name="T40" fmla="*/ 0 w 1491"/>
                    <a:gd name="T41" fmla="*/ 0 h 387"/>
                    <a:gd name="T42" fmla="*/ 1491 w 1491"/>
                    <a:gd name="T43" fmla="*/ 0 h 387"/>
                    <a:gd name="T44" fmla="*/ 1491 w 1491"/>
                    <a:gd name="T45" fmla="*/ 4 h 387"/>
                    <a:gd name="T46" fmla="*/ 0 w 1491"/>
                    <a:gd name="T47" fmla="*/ 4 h 387"/>
                    <a:gd name="T48" fmla="*/ 0 w 1491"/>
                    <a:gd name="T49" fmla="*/ 0 h 3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91" h="387">
                      <a:moveTo>
                        <a:pt x="0" y="382"/>
                      </a:moveTo>
                      <a:lnTo>
                        <a:pt x="1491" y="382"/>
                      </a:lnTo>
                      <a:lnTo>
                        <a:pt x="1491" y="387"/>
                      </a:lnTo>
                      <a:lnTo>
                        <a:pt x="0" y="387"/>
                      </a:lnTo>
                      <a:lnTo>
                        <a:pt x="0" y="382"/>
                      </a:lnTo>
                      <a:close/>
                      <a:moveTo>
                        <a:pt x="0" y="287"/>
                      </a:moveTo>
                      <a:lnTo>
                        <a:pt x="1491" y="287"/>
                      </a:lnTo>
                      <a:lnTo>
                        <a:pt x="1491" y="291"/>
                      </a:lnTo>
                      <a:lnTo>
                        <a:pt x="0" y="291"/>
                      </a:lnTo>
                      <a:lnTo>
                        <a:pt x="0" y="287"/>
                      </a:lnTo>
                      <a:close/>
                      <a:moveTo>
                        <a:pt x="0" y="191"/>
                      </a:moveTo>
                      <a:lnTo>
                        <a:pt x="1491" y="191"/>
                      </a:lnTo>
                      <a:lnTo>
                        <a:pt x="1491" y="195"/>
                      </a:lnTo>
                      <a:lnTo>
                        <a:pt x="0" y="195"/>
                      </a:lnTo>
                      <a:lnTo>
                        <a:pt x="0" y="191"/>
                      </a:lnTo>
                      <a:close/>
                      <a:moveTo>
                        <a:pt x="0" y="95"/>
                      </a:moveTo>
                      <a:lnTo>
                        <a:pt x="1491" y="95"/>
                      </a:lnTo>
                      <a:lnTo>
                        <a:pt x="1491" y="100"/>
                      </a:lnTo>
                      <a:lnTo>
                        <a:pt x="0" y="100"/>
                      </a:lnTo>
                      <a:lnTo>
                        <a:pt x="0" y="95"/>
                      </a:lnTo>
                      <a:close/>
                      <a:moveTo>
                        <a:pt x="0" y="0"/>
                      </a:moveTo>
                      <a:lnTo>
                        <a:pt x="1491" y="0"/>
                      </a:lnTo>
                      <a:lnTo>
                        <a:pt x="1491" y="4"/>
                      </a:lnTo>
                      <a:lnTo>
                        <a:pt x="0" y="4"/>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949" name="Rectangle 378">
                  <a:extLst>
                    <a:ext uri="{FF2B5EF4-FFF2-40B4-BE49-F238E27FC236}">
                      <a16:creationId xmlns:a16="http://schemas.microsoft.com/office/drawing/2014/main" id="{F422AB35-6561-64A2-6F9E-94A8B3A938A2}"/>
                    </a:ext>
                  </a:extLst>
                </p:cNvPr>
                <p:cNvSpPr>
                  <a:spLocks noChangeArrowheads="1"/>
                </p:cNvSpPr>
                <p:nvPr/>
              </p:nvSpPr>
              <p:spPr bwMode="auto">
                <a:xfrm>
                  <a:off x="3065" y="2925"/>
                  <a:ext cx="4" cy="478"/>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50" name="Freeform 379">
                  <a:extLst>
                    <a:ext uri="{FF2B5EF4-FFF2-40B4-BE49-F238E27FC236}">
                      <a16:creationId xmlns:a16="http://schemas.microsoft.com/office/drawing/2014/main" id="{DD54D61D-EDFA-6754-B532-C2C471C58AEB}"/>
                    </a:ext>
                  </a:extLst>
                </p:cNvPr>
                <p:cNvSpPr>
                  <a:spLocks noEditPoints="1"/>
                </p:cNvSpPr>
                <p:nvPr/>
              </p:nvSpPr>
              <p:spPr bwMode="auto">
                <a:xfrm>
                  <a:off x="3049" y="2923"/>
                  <a:ext cx="18" cy="482"/>
                </a:xfrm>
                <a:custGeom>
                  <a:avLst/>
                  <a:gdLst>
                    <a:gd name="T0" fmla="*/ 0 w 18"/>
                    <a:gd name="T1" fmla="*/ 478 h 482"/>
                    <a:gd name="T2" fmla="*/ 18 w 18"/>
                    <a:gd name="T3" fmla="*/ 478 h 482"/>
                    <a:gd name="T4" fmla="*/ 18 w 18"/>
                    <a:gd name="T5" fmla="*/ 482 h 482"/>
                    <a:gd name="T6" fmla="*/ 0 w 18"/>
                    <a:gd name="T7" fmla="*/ 482 h 482"/>
                    <a:gd name="T8" fmla="*/ 0 w 18"/>
                    <a:gd name="T9" fmla="*/ 478 h 482"/>
                    <a:gd name="T10" fmla="*/ 0 w 18"/>
                    <a:gd name="T11" fmla="*/ 382 h 482"/>
                    <a:gd name="T12" fmla="*/ 18 w 18"/>
                    <a:gd name="T13" fmla="*/ 382 h 482"/>
                    <a:gd name="T14" fmla="*/ 18 w 18"/>
                    <a:gd name="T15" fmla="*/ 387 h 482"/>
                    <a:gd name="T16" fmla="*/ 0 w 18"/>
                    <a:gd name="T17" fmla="*/ 387 h 482"/>
                    <a:gd name="T18" fmla="*/ 0 w 18"/>
                    <a:gd name="T19" fmla="*/ 382 h 482"/>
                    <a:gd name="T20" fmla="*/ 0 w 18"/>
                    <a:gd name="T21" fmla="*/ 287 h 482"/>
                    <a:gd name="T22" fmla="*/ 18 w 18"/>
                    <a:gd name="T23" fmla="*/ 287 h 482"/>
                    <a:gd name="T24" fmla="*/ 18 w 18"/>
                    <a:gd name="T25" fmla="*/ 291 h 482"/>
                    <a:gd name="T26" fmla="*/ 0 w 18"/>
                    <a:gd name="T27" fmla="*/ 291 h 482"/>
                    <a:gd name="T28" fmla="*/ 0 w 18"/>
                    <a:gd name="T29" fmla="*/ 287 h 482"/>
                    <a:gd name="T30" fmla="*/ 0 w 18"/>
                    <a:gd name="T31" fmla="*/ 191 h 482"/>
                    <a:gd name="T32" fmla="*/ 18 w 18"/>
                    <a:gd name="T33" fmla="*/ 191 h 482"/>
                    <a:gd name="T34" fmla="*/ 18 w 18"/>
                    <a:gd name="T35" fmla="*/ 195 h 482"/>
                    <a:gd name="T36" fmla="*/ 0 w 18"/>
                    <a:gd name="T37" fmla="*/ 195 h 482"/>
                    <a:gd name="T38" fmla="*/ 0 w 18"/>
                    <a:gd name="T39" fmla="*/ 191 h 482"/>
                    <a:gd name="T40" fmla="*/ 0 w 18"/>
                    <a:gd name="T41" fmla="*/ 95 h 482"/>
                    <a:gd name="T42" fmla="*/ 18 w 18"/>
                    <a:gd name="T43" fmla="*/ 95 h 482"/>
                    <a:gd name="T44" fmla="*/ 18 w 18"/>
                    <a:gd name="T45" fmla="*/ 100 h 482"/>
                    <a:gd name="T46" fmla="*/ 0 w 18"/>
                    <a:gd name="T47" fmla="*/ 100 h 482"/>
                    <a:gd name="T48" fmla="*/ 0 w 18"/>
                    <a:gd name="T49" fmla="*/ 95 h 482"/>
                    <a:gd name="T50" fmla="*/ 0 w 18"/>
                    <a:gd name="T51" fmla="*/ 0 h 482"/>
                    <a:gd name="T52" fmla="*/ 18 w 18"/>
                    <a:gd name="T53" fmla="*/ 0 h 482"/>
                    <a:gd name="T54" fmla="*/ 18 w 18"/>
                    <a:gd name="T55" fmla="*/ 4 h 482"/>
                    <a:gd name="T56" fmla="*/ 0 w 18"/>
                    <a:gd name="T57" fmla="*/ 4 h 482"/>
                    <a:gd name="T58" fmla="*/ 0 w 18"/>
                    <a:gd name="T59" fmla="*/ 0 h 48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8" h="482">
                      <a:moveTo>
                        <a:pt x="0" y="478"/>
                      </a:moveTo>
                      <a:lnTo>
                        <a:pt x="18" y="478"/>
                      </a:lnTo>
                      <a:lnTo>
                        <a:pt x="18" y="482"/>
                      </a:lnTo>
                      <a:lnTo>
                        <a:pt x="0" y="482"/>
                      </a:lnTo>
                      <a:lnTo>
                        <a:pt x="0" y="478"/>
                      </a:lnTo>
                      <a:close/>
                      <a:moveTo>
                        <a:pt x="0" y="382"/>
                      </a:moveTo>
                      <a:lnTo>
                        <a:pt x="18" y="382"/>
                      </a:lnTo>
                      <a:lnTo>
                        <a:pt x="18" y="387"/>
                      </a:lnTo>
                      <a:lnTo>
                        <a:pt x="0" y="387"/>
                      </a:lnTo>
                      <a:lnTo>
                        <a:pt x="0" y="382"/>
                      </a:lnTo>
                      <a:close/>
                      <a:moveTo>
                        <a:pt x="0" y="287"/>
                      </a:moveTo>
                      <a:lnTo>
                        <a:pt x="18" y="287"/>
                      </a:lnTo>
                      <a:lnTo>
                        <a:pt x="18" y="291"/>
                      </a:lnTo>
                      <a:lnTo>
                        <a:pt x="0" y="291"/>
                      </a:lnTo>
                      <a:lnTo>
                        <a:pt x="0" y="287"/>
                      </a:lnTo>
                      <a:close/>
                      <a:moveTo>
                        <a:pt x="0" y="191"/>
                      </a:moveTo>
                      <a:lnTo>
                        <a:pt x="18" y="191"/>
                      </a:lnTo>
                      <a:lnTo>
                        <a:pt x="18" y="195"/>
                      </a:lnTo>
                      <a:lnTo>
                        <a:pt x="0" y="195"/>
                      </a:lnTo>
                      <a:lnTo>
                        <a:pt x="0" y="191"/>
                      </a:lnTo>
                      <a:close/>
                      <a:moveTo>
                        <a:pt x="0" y="95"/>
                      </a:moveTo>
                      <a:lnTo>
                        <a:pt x="18" y="95"/>
                      </a:lnTo>
                      <a:lnTo>
                        <a:pt x="18" y="100"/>
                      </a:lnTo>
                      <a:lnTo>
                        <a:pt x="0" y="100"/>
                      </a:lnTo>
                      <a:lnTo>
                        <a:pt x="0" y="95"/>
                      </a:lnTo>
                      <a:close/>
                      <a:moveTo>
                        <a:pt x="0" y="0"/>
                      </a:moveTo>
                      <a:lnTo>
                        <a:pt x="18" y="0"/>
                      </a:lnTo>
                      <a:lnTo>
                        <a:pt x="18" y="4"/>
                      </a:lnTo>
                      <a:lnTo>
                        <a:pt x="0" y="4"/>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951" name="Rectangle 380">
                  <a:extLst>
                    <a:ext uri="{FF2B5EF4-FFF2-40B4-BE49-F238E27FC236}">
                      <a16:creationId xmlns:a16="http://schemas.microsoft.com/office/drawing/2014/main" id="{75645175-2645-7ECC-DDA7-0737905A7544}"/>
                    </a:ext>
                  </a:extLst>
                </p:cNvPr>
                <p:cNvSpPr>
                  <a:spLocks noChangeArrowheads="1"/>
                </p:cNvSpPr>
                <p:nvPr/>
              </p:nvSpPr>
              <p:spPr bwMode="auto">
                <a:xfrm>
                  <a:off x="3067" y="3401"/>
                  <a:ext cx="1491" cy="4"/>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952" name="Freeform 381">
                  <a:extLst>
                    <a:ext uri="{FF2B5EF4-FFF2-40B4-BE49-F238E27FC236}">
                      <a16:creationId xmlns:a16="http://schemas.microsoft.com/office/drawing/2014/main" id="{88D5C947-742D-A2CF-E87A-B59B01221731}"/>
                    </a:ext>
                  </a:extLst>
                </p:cNvPr>
                <p:cNvSpPr>
                  <a:spLocks noEditPoints="1"/>
                </p:cNvSpPr>
                <p:nvPr/>
              </p:nvSpPr>
              <p:spPr bwMode="auto">
                <a:xfrm>
                  <a:off x="3065" y="3403"/>
                  <a:ext cx="1496" cy="19"/>
                </a:xfrm>
                <a:custGeom>
                  <a:avLst/>
                  <a:gdLst>
                    <a:gd name="T0" fmla="*/ 0 w 1496"/>
                    <a:gd name="T1" fmla="*/ 19 h 19"/>
                    <a:gd name="T2" fmla="*/ 53 w 1496"/>
                    <a:gd name="T3" fmla="*/ 0 h 19"/>
                    <a:gd name="T4" fmla="*/ 48 w 1496"/>
                    <a:gd name="T5" fmla="*/ 0 h 19"/>
                    <a:gd name="T6" fmla="*/ 101 w 1496"/>
                    <a:gd name="T7" fmla="*/ 19 h 19"/>
                    <a:gd name="T8" fmla="*/ 101 w 1496"/>
                    <a:gd name="T9" fmla="*/ 0 h 19"/>
                    <a:gd name="T10" fmla="*/ 145 w 1496"/>
                    <a:gd name="T11" fmla="*/ 19 h 19"/>
                    <a:gd name="T12" fmla="*/ 197 w 1496"/>
                    <a:gd name="T13" fmla="*/ 0 h 19"/>
                    <a:gd name="T14" fmla="*/ 193 w 1496"/>
                    <a:gd name="T15" fmla="*/ 0 h 19"/>
                    <a:gd name="T16" fmla="*/ 245 w 1496"/>
                    <a:gd name="T17" fmla="*/ 19 h 19"/>
                    <a:gd name="T18" fmla="*/ 245 w 1496"/>
                    <a:gd name="T19" fmla="*/ 0 h 19"/>
                    <a:gd name="T20" fmla="*/ 289 w 1496"/>
                    <a:gd name="T21" fmla="*/ 19 h 19"/>
                    <a:gd name="T22" fmla="*/ 341 w 1496"/>
                    <a:gd name="T23" fmla="*/ 0 h 19"/>
                    <a:gd name="T24" fmla="*/ 337 w 1496"/>
                    <a:gd name="T25" fmla="*/ 0 h 19"/>
                    <a:gd name="T26" fmla="*/ 389 w 1496"/>
                    <a:gd name="T27" fmla="*/ 19 h 19"/>
                    <a:gd name="T28" fmla="*/ 389 w 1496"/>
                    <a:gd name="T29" fmla="*/ 0 h 19"/>
                    <a:gd name="T30" fmla="*/ 433 w 1496"/>
                    <a:gd name="T31" fmla="*/ 19 h 19"/>
                    <a:gd name="T32" fmla="*/ 486 w 1496"/>
                    <a:gd name="T33" fmla="*/ 0 h 19"/>
                    <a:gd name="T34" fmla="*/ 481 w 1496"/>
                    <a:gd name="T35" fmla="*/ 0 h 19"/>
                    <a:gd name="T36" fmla="*/ 533 w 1496"/>
                    <a:gd name="T37" fmla="*/ 19 h 19"/>
                    <a:gd name="T38" fmla="*/ 533 w 1496"/>
                    <a:gd name="T39" fmla="*/ 0 h 19"/>
                    <a:gd name="T40" fmla="*/ 578 w 1496"/>
                    <a:gd name="T41" fmla="*/ 19 h 19"/>
                    <a:gd name="T42" fmla="*/ 630 w 1496"/>
                    <a:gd name="T43" fmla="*/ 0 h 19"/>
                    <a:gd name="T44" fmla="*/ 625 w 1496"/>
                    <a:gd name="T45" fmla="*/ 0 h 19"/>
                    <a:gd name="T46" fmla="*/ 678 w 1496"/>
                    <a:gd name="T47" fmla="*/ 19 h 19"/>
                    <a:gd name="T48" fmla="*/ 678 w 1496"/>
                    <a:gd name="T49" fmla="*/ 0 h 19"/>
                    <a:gd name="T50" fmla="*/ 722 w 1496"/>
                    <a:gd name="T51" fmla="*/ 19 h 19"/>
                    <a:gd name="T52" fmla="*/ 775 w 1496"/>
                    <a:gd name="T53" fmla="*/ 0 h 19"/>
                    <a:gd name="T54" fmla="*/ 770 w 1496"/>
                    <a:gd name="T55" fmla="*/ 0 h 19"/>
                    <a:gd name="T56" fmla="*/ 822 w 1496"/>
                    <a:gd name="T57" fmla="*/ 19 h 19"/>
                    <a:gd name="T58" fmla="*/ 822 w 1496"/>
                    <a:gd name="T59" fmla="*/ 0 h 19"/>
                    <a:gd name="T60" fmla="*/ 867 w 1496"/>
                    <a:gd name="T61" fmla="*/ 19 h 19"/>
                    <a:gd name="T62" fmla="*/ 919 w 1496"/>
                    <a:gd name="T63" fmla="*/ 0 h 19"/>
                    <a:gd name="T64" fmla="*/ 914 w 1496"/>
                    <a:gd name="T65" fmla="*/ 0 h 19"/>
                    <a:gd name="T66" fmla="*/ 966 w 1496"/>
                    <a:gd name="T67" fmla="*/ 19 h 19"/>
                    <a:gd name="T68" fmla="*/ 966 w 1496"/>
                    <a:gd name="T69" fmla="*/ 0 h 19"/>
                    <a:gd name="T70" fmla="*/ 1011 w 1496"/>
                    <a:gd name="T71" fmla="*/ 19 h 19"/>
                    <a:gd name="T72" fmla="*/ 1063 w 1496"/>
                    <a:gd name="T73" fmla="*/ 0 h 19"/>
                    <a:gd name="T74" fmla="*/ 1058 w 1496"/>
                    <a:gd name="T75" fmla="*/ 0 h 19"/>
                    <a:gd name="T76" fmla="*/ 1111 w 1496"/>
                    <a:gd name="T77" fmla="*/ 19 h 19"/>
                    <a:gd name="T78" fmla="*/ 1111 w 1496"/>
                    <a:gd name="T79" fmla="*/ 0 h 19"/>
                    <a:gd name="T80" fmla="*/ 1155 w 1496"/>
                    <a:gd name="T81" fmla="*/ 19 h 19"/>
                    <a:gd name="T82" fmla="*/ 1207 w 1496"/>
                    <a:gd name="T83" fmla="*/ 0 h 19"/>
                    <a:gd name="T84" fmla="*/ 1203 w 1496"/>
                    <a:gd name="T85" fmla="*/ 0 h 19"/>
                    <a:gd name="T86" fmla="*/ 1255 w 1496"/>
                    <a:gd name="T87" fmla="*/ 19 h 19"/>
                    <a:gd name="T88" fmla="*/ 1255 w 1496"/>
                    <a:gd name="T89" fmla="*/ 0 h 19"/>
                    <a:gd name="T90" fmla="*/ 1299 w 1496"/>
                    <a:gd name="T91" fmla="*/ 19 h 19"/>
                    <a:gd name="T92" fmla="*/ 1351 w 1496"/>
                    <a:gd name="T93" fmla="*/ 0 h 19"/>
                    <a:gd name="T94" fmla="*/ 1347 w 1496"/>
                    <a:gd name="T95" fmla="*/ 0 h 19"/>
                    <a:gd name="T96" fmla="*/ 1400 w 1496"/>
                    <a:gd name="T97" fmla="*/ 19 h 19"/>
                    <a:gd name="T98" fmla="*/ 1400 w 1496"/>
                    <a:gd name="T99" fmla="*/ 0 h 19"/>
                    <a:gd name="T100" fmla="*/ 1443 w 1496"/>
                    <a:gd name="T101" fmla="*/ 19 h 19"/>
                    <a:gd name="T102" fmla="*/ 1496 w 1496"/>
                    <a:gd name="T103" fmla="*/ 0 h 19"/>
                    <a:gd name="T104" fmla="*/ 1491 w 1496"/>
                    <a:gd name="T105" fmla="*/ 0 h 1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496" h="19">
                      <a:moveTo>
                        <a:pt x="4" y="0"/>
                      </a:moveTo>
                      <a:lnTo>
                        <a:pt x="4" y="19"/>
                      </a:lnTo>
                      <a:lnTo>
                        <a:pt x="0" y="19"/>
                      </a:lnTo>
                      <a:lnTo>
                        <a:pt x="0" y="0"/>
                      </a:lnTo>
                      <a:lnTo>
                        <a:pt x="4" y="0"/>
                      </a:lnTo>
                      <a:close/>
                      <a:moveTo>
                        <a:pt x="53" y="0"/>
                      </a:moveTo>
                      <a:lnTo>
                        <a:pt x="53" y="19"/>
                      </a:lnTo>
                      <a:lnTo>
                        <a:pt x="48" y="19"/>
                      </a:lnTo>
                      <a:lnTo>
                        <a:pt x="48" y="0"/>
                      </a:lnTo>
                      <a:lnTo>
                        <a:pt x="53" y="0"/>
                      </a:lnTo>
                      <a:close/>
                      <a:moveTo>
                        <a:pt x="101" y="0"/>
                      </a:moveTo>
                      <a:lnTo>
                        <a:pt x="101" y="19"/>
                      </a:lnTo>
                      <a:lnTo>
                        <a:pt x="96" y="19"/>
                      </a:lnTo>
                      <a:lnTo>
                        <a:pt x="96" y="0"/>
                      </a:lnTo>
                      <a:lnTo>
                        <a:pt x="101" y="0"/>
                      </a:lnTo>
                      <a:close/>
                      <a:moveTo>
                        <a:pt x="149" y="0"/>
                      </a:moveTo>
                      <a:lnTo>
                        <a:pt x="149" y="19"/>
                      </a:lnTo>
                      <a:lnTo>
                        <a:pt x="145" y="19"/>
                      </a:lnTo>
                      <a:lnTo>
                        <a:pt x="145" y="0"/>
                      </a:lnTo>
                      <a:lnTo>
                        <a:pt x="149" y="0"/>
                      </a:lnTo>
                      <a:close/>
                      <a:moveTo>
                        <a:pt x="197" y="0"/>
                      </a:moveTo>
                      <a:lnTo>
                        <a:pt x="197" y="19"/>
                      </a:lnTo>
                      <a:lnTo>
                        <a:pt x="193" y="19"/>
                      </a:lnTo>
                      <a:lnTo>
                        <a:pt x="193" y="0"/>
                      </a:lnTo>
                      <a:lnTo>
                        <a:pt x="197" y="0"/>
                      </a:lnTo>
                      <a:close/>
                      <a:moveTo>
                        <a:pt x="245" y="0"/>
                      </a:moveTo>
                      <a:lnTo>
                        <a:pt x="245" y="19"/>
                      </a:lnTo>
                      <a:lnTo>
                        <a:pt x="241" y="19"/>
                      </a:lnTo>
                      <a:lnTo>
                        <a:pt x="241" y="0"/>
                      </a:lnTo>
                      <a:lnTo>
                        <a:pt x="245" y="0"/>
                      </a:lnTo>
                      <a:close/>
                      <a:moveTo>
                        <a:pt x="293" y="0"/>
                      </a:moveTo>
                      <a:lnTo>
                        <a:pt x="293" y="19"/>
                      </a:lnTo>
                      <a:lnTo>
                        <a:pt x="289" y="19"/>
                      </a:lnTo>
                      <a:lnTo>
                        <a:pt x="289" y="0"/>
                      </a:lnTo>
                      <a:lnTo>
                        <a:pt x="293" y="0"/>
                      </a:lnTo>
                      <a:close/>
                      <a:moveTo>
                        <a:pt x="341" y="0"/>
                      </a:moveTo>
                      <a:lnTo>
                        <a:pt x="341" y="19"/>
                      </a:lnTo>
                      <a:lnTo>
                        <a:pt x="337" y="19"/>
                      </a:lnTo>
                      <a:lnTo>
                        <a:pt x="337" y="0"/>
                      </a:lnTo>
                      <a:lnTo>
                        <a:pt x="341" y="0"/>
                      </a:lnTo>
                      <a:close/>
                      <a:moveTo>
                        <a:pt x="389" y="0"/>
                      </a:moveTo>
                      <a:lnTo>
                        <a:pt x="389" y="19"/>
                      </a:lnTo>
                      <a:lnTo>
                        <a:pt x="385" y="19"/>
                      </a:lnTo>
                      <a:lnTo>
                        <a:pt x="385" y="0"/>
                      </a:lnTo>
                      <a:lnTo>
                        <a:pt x="389" y="0"/>
                      </a:lnTo>
                      <a:close/>
                      <a:moveTo>
                        <a:pt x="437" y="0"/>
                      </a:moveTo>
                      <a:lnTo>
                        <a:pt x="437" y="19"/>
                      </a:lnTo>
                      <a:lnTo>
                        <a:pt x="433" y="19"/>
                      </a:lnTo>
                      <a:lnTo>
                        <a:pt x="433" y="0"/>
                      </a:lnTo>
                      <a:lnTo>
                        <a:pt x="437" y="0"/>
                      </a:lnTo>
                      <a:close/>
                      <a:moveTo>
                        <a:pt x="486" y="0"/>
                      </a:moveTo>
                      <a:lnTo>
                        <a:pt x="486" y="19"/>
                      </a:lnTo>
                      <a:lnTo>
                        <a:pt x="481" y="19"/>
                      </a:lnTo>
                      <a:lnTo>
                        <a:pt x="481" y="0"/>
                      </a:lnTo>
                      <a:lnTo>
                        <a:pt x="486" y="0"/>
                      </a:lnTo>
                      <a:close/>
                      <a:moveTo>
                        <a:pt x="533" y="0"/>
                      </a:moveTo>
                      <a:lnTo>
                        <a:pt x="533" y="19"/>
                      </a:lnTo>
                      <a:lnTo>
                        <a:pt x="529" y="19"/>
                      </a:lnTo>
                      <a:lnTo>
                        <a:pt x="529" y="0"/>
                      </a:lnTo>
                      <a:lnTo>
                        <a:pt x="533" y="0"/>
                      </a:lnTo>
                      <a:close/>
                      <a:moveTo>
                        <a:pt x="582" y="0"/>
                      </a:moveTo>
                      <a:lnTo>
                        <a:pt x="582" y="19"/>
                      </a:lnTo>
                      <a:lnTo>
                        <a:pt x="578" y="19"/>
                      </a:lnTo>
                      <a:lnTo>
                        <a:pt x="578" y="0"/>
                      </a:lnTo>
                      <a:lnTo>
                        <a:pt x="582" y="0"/>
                      </a:lnTo>
                      <a:close/>
                      <a:moveTo>
                        <a:pt x="630" y="0"/>
                      </a:moveTo>
                      <a:lnTo>
                        <a:pt x="630" y="19"/>
                      </a:lnTo>
                      <a:lnTo>
                        <a:pt x="625" y="19"/>
                      </a:lnTo>
                      <a:lnTo>
                        <a:pt x="625" y="0"/>
                      </a:lnTo>
                      <a:lnTo>
                        <a:pt x="630" y="0"/>
                      </a:lnTo>
                      <a:close/>
                      <a:moveTo>
                        <a:pt x="678" y="0"/>
                      </a:moveTo>
                      <a:lnTo>
                        <a:pt x="678" y="19"/>
                      </a:lnTo>
                      <a:lnTo>
                        <a:pt x="674" y="19"/>
                      </a:lnTo>
                      <a:lnTo>
                        <a:pt x="674" y="0"/>
                      </a:lnTo>
                      <a:lnTo>
                        <a:pt x="678" y="0"/>
                      </a:lnTo>
                      <a:close/>
                      <a:moveTo>
                        <a:pt x="726" y="0"/>
                      </a:moveTo>
                      <a:lnTo>
                        <a:pt x="726" y="19"/>
                      </a:lnTo>
                      <a:lnTo>
                        <a:pt x="722" y="19"/>
                      </a:lnTo>
                      <a:lnTo>
                        <a:pt x="722" y="0"/>
                      </a:lnTo>
                      <a:lnTo>
                        <a:pt x="726" y="0"/>
                      </a:lnTo>
                      <a:close/>
                      <a:moveTo>
                        <a:pt x="775" y="0"/>
                      </a:moveTo>
                      <a:lnTo>
                        <a:pt x="775" y="19"/>
                      </a:lnTo>
                      <a:lnTo>
                        <a:pt x="770" y="19"/>
                      </a:lnTo>
                      <a:lnTo>
                        <a:pt x="770" y="0"/>
                      </a:lnTo>
                      <a:lnTo>
                        <a:pt x="775" y="0"/>
                      </a:lnTo>
                      <a:close/>
                      <a:moveTo>
                        <a:pt x="822" y="0"/>
                      </a:moveTo>
                      <a:lnTo>
                        <a:pt x="822" y="19"/>
                      </a:lnTo>
                      <a:lnTo>
                        <a:pt x="818" y="19"/>
                      </a:lnTo>
                      <a:lnTo>
                        <a:pt x="818" y="0"/>
                      </a:lnTo>
                      <a:lnTo>
                        <a:pt x="822" y="0"/>
                      </a:lnTo>
                      <a:close/>
                      <a:moveTo>
                        <a:pt x="871" y="0"/>
                      </a:moveTo>
                      <a:lnTo>
                        <a:pt x="871" y="19"/>
                      </a:lnTo>
                      <a:lnTo>
                        <a:pt x="867" y="19"/>
                      </a:lnTo>
                      <a:lnTo>
                        <a:pt x="867" y="0"/>
                      </a:lnTo>
                      <a:lnTo>
                        <a:pt x="871" y="0"/>
                      </a:lnTo>
                      <a:close/>
                      <a:moveTo>
                        <a:pt x="919" y="0"/>
                      </a:moveTo>
                      <a:lnTo>
                        <a:pt x="919" y="19"/>
                      </a:lnTo>
                      <a:lnTo>
                        <a:pt x="914" y="19"/>
                      </a:lnTo>
                      <a:lnTo>
                        <a:pt x="914" y="0"/>
                      </a:lnTo>
                      <a:lnTo>
                        <a:pt x="919" y="0"/>
                      </a:lnTo>
                      <a:close/>
                      <a:moveTo>
                        <a:pt x="966" y="0"/>
                      </a:moveTo>
                      <a:lnTo>
                        <a:pt x="966" y="19"/>
                      </a:lnTo>
                      <a:lnTo>
                        <a:pt x="962" y="19"/>
                      </a:lnTo>
                      <a:lnTo>
                        <a:pt x="962" y="0"/>
                      </a:lnTo>
                      <a:lnTo>
                        <a:pt x="966" y="0"/>
                      </a:lnTo>
                      <a:close/>
                      <a:moveTo>
                        <a:pt x="1015" y="0"/>
                      </a:moveTo>
                      <a:lnTo>
                        <a:pt x="1015" y="19"/>
                      </a:lnTo>
                      <a:lnTo>
                        <a:pt x="1011" y="19"/>
                      </a:lnTo>
                      <a:lnTo>
                        <a:pt x="1011" y="0"/>
                      </a:lnTo>
                      <a:lnTo>
                        <a:pt x="1015" y="0"/>
                      </a:lnTo>
                      <a:close/>
                      <a:moveTo>
                        <a:pt x="1063" y="0"/>
                      </a:moveTo>
                      <a:lnTo>
                        <a:pt x="1063" y="19"/>
                      </a:lnTo>
                      <a:lnTo>
                        <a:pt x="1058" y="19"/>
                      </a:lnTo>
                      <a:lnTo>
                        <a:pt x="1058" y="0"/>
                      </a:lnTo>
                      <a:lnTo>
                        <a:pt x="1063" y="0"/>
                      </a:lnTo>
                      <a:close/>
                      <a:moveTo>
                        <a:pt x="1111" y="0"/>
                      </a:moveTo>
                      <a:lnTo>
                        <a:pt x="1111" y="19"/>
                      </a:lnTo>
                      <a:lnTo>
                        <a:pt x="1107" y="19"/>
                      </a:lnTo>
                      <a:lnTo>
                        <a:pt x="1107" y="0"/>
                      </a:lnTo>
                      <a:lnTo>
                        <a:pt x="1111" y="0"/>
                      </a:lnTo>
                      <a:close/>
                      <a:moveTo>
                        <a:pt x="1159" y="0"/>
                      </a:moveTo>
                      <a:lnTo>
                        <a:pt x="1159" y="19"/>
                      </a:lnTo>
                      <a:lnTo>
                        <a:pt x="1155" y="19"/>
                      </a:lnTo>
                      <a:lnTo>
                        <a:pt x="1155" y="0"/>
                      </a:lnTo>
                      <a:lnTo>
                        <a:pt x="1159" y="0"/>
                      </a:lnTo>
                      <a:close/>
                      <a:moveTo>
                        <a:pt x="1207" y="0"/>
                      </a:moveTo>
                      <a:lnTo>
                        <a:pt x="1207" y="19"/>
                      </a:lnTo>
                      <a:lnTo>
                        <a:pt x="1203" y="19"/>
                      </a:lnTo>
                      <a:lnTo>
                        <a:pt x="1203" y="0"/>
                      </a:lnTo>
                      <a:lnTo>
                        <a:pt x="1207" y="0"/>
                      </a:lnTo>
                      <a:close/>
                      <a:moveTo>
                        <a:pt x="1255" y="0"/>
                      </a:moveTo>
                      <a:lnTo>
                        <a:pt x="1255" y="19"/>
                      </a:lnTo>
                      <a:lnTo>
                        <a:pt x="1251" y="19"/>
                      </a:lnTo>
                      <a:lnTo>
                        <a:pt x="1251" y="0"/>
                      </a:lnTo>
                      <a:lnTo>
                        <a:pt x="1255" y="0"/>
                      </a:lnTo>
                      <a:close/>
                      <a:moveTo>
                        <a:pt x="1304" y="0"/>
                      </a:moveTo>
                      <a:lnTo>
                        <a:pt x="1304" y="19"/>
                      </a:lnTo>
                      <a:lnTo>
                        <a:pt x="1299" y="19"/>
                      </a:lnTo>
                      <a:lnTo>
                        <a:pt x="1299" y="0"/>
                      </a:lnTo>
                      <a:lnTo>
                        <a:pt x="1304" y="0"/>
                      </a:lnTo>
                      <a:close/>
                      <a:moveTo>
                        <a:pt x="1351" y="0"/>
                      </a:moveTo>
                      <a:lnTo>
                        <a:pt x="1351" y="19"/>
                      </a:lnTo>
                      <a:lnTo>
                        <a:pt x="1347" y="19"/>
                      </a:lnTo>
                      <a:lnTo>
                        <a:pt x="1347" y="0"/>
                      </a:lnTo>
                      <a:lnTo>
                        <a:pt x="1351" y="0"/>
                      </a:lnTo>
                      <a:close/>
                      <a:moveTo>
                        <a:pt x="1400" y="0"/>
                      </a:moveTo>
                      <a:lnTo>
                        <a:pt x="1400" y="19"/>
                      </a:lnTo>
                      <a:lnTo>
                        <a:pt x="1396" y="19"/>
                      </a:lnTo>
                      <a:lnTo>
                        <a:pt x="1396" y="0"/>
                      </a:lnTo>
                      <a:lnTo>
                        <a:pt x="1400" y="0"/>
                      </a:lnTo>
                      <a:close/>
                      <a:moveTo>
                        <a:pt x="1448" y="0"/>
                      </a:moveTo>
                      <a:lnTo>
                        <a:pt x="1448" y="19"/>
                      </a:lnTo>
                      <a:lnTo>
                        <a:pt x="1443" y="19"/>
                      </a:lnTo>
                      <a:lnTo>
                        <a:pt x="1443" y="0"/>
                      </a:lnTo>
                      <a:lnTo>
                        <a:pt x="1448" y="0"/>
                      </a:lnTo>
                      <a:close/>
                      <a:moveTo>
                        <a:pt x="1496" y="0"/>
                      </a:moveTo>
                      <a:lnTo>
                        <a:pt x="1496" y="19"/>
                      </a:lnTo>
                      <a:lnTo>
                        <a:pt x="1491" y="19"/>
                      </a:lnTo>
                      <a:lnTo>
                        <a:pt x="1491" y="0"/>
                      </a:lnTo>
                      <a:lnTo>
                        <a:pt x="1496"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953" name="Freeform 382">
                  <a:extLst>
                    <a:ext uri="{FF2B5EF4-FFF2-40B4-BE49-F238E27FC236}">
                      <a16:creationId xmlns:a16="http://schemas.microsoft.com/office/drawing/2014/main" id="{629DF900-4F91-3CE7-5EF3-9EF1A1CE5858}"/>
                    </a:ext>
                  </a:extLst>
                </p:cNvPr>
                <p:cNvSpPr>
                  <a:spLocks/>
                </p:cNvSpPr>
                <p:nvPr/>
              </p:nvSpPr>
              <p:spPr bwMode="auto">
                <a:xfrm>
                  <a:off x="3084" y="2973"/>
                  <a:ext cx="1457" cy="437"/>
                </a:xfrm>
                <a:custGeom>
                  <a:avLst/>
                  <a:gdLst>
                    <a:gd name="T0" fmla="*/ 0 w 8174"/>
                    <a:gd name="T1" fmla="*/ 0 h 2454"/>
                    <a:gd name="T2" fmla="*/ 0 w 8174"/>
                    <a:gd name="T3" fmla="*/ 0 h 2454"/>
                    <a:gd name="T4" fmla="*/ 0 w 8174"/>
                    <a:gd name="T5" fmla="*/ 0 h 2454"/>
                    <a:gd name="T6" fmla="*/ 0 w 8174"/>
                    <a:gd name="T7" fmla="*/ 0 h 2454"/>
                    <a:gd name="T8" fmla="*/ 0 w 8174"/>
                    <a:gd name="T9" fmla="*/ 0 h 2454"/>
                    <a:gd name="T10" fmla="*/ 0 w 8174"/>
                    <a:gd name="T11" fmla="*/ 0 h 2454"/>
                    <a:gd name="T12" fmla="*/ 0 w 8174"/>
                    <a:gd name="T13" fmla="*/ 0 h 2454"/>
                    <a:gd name="T14" fmla="*/ 0 w 8174"/>
                    <a:gd name="T15" fmla="*/ 0 h 2454"/>
                    <a:gd name="T16" fmla="*/ 0 w 8174"/>
                    <a:gd name="T17" fmla="*/ 0 h 2454"/>
                    <a:gd name="T18" fmla="*/ 0 w 8174"/>
                    <a:gd name="T19" fmla="*/ 0 h 2454"/>
                    <a:gd name="T20" fmla="*/ 0 w 8174"/>
                    <a:gd name="T21" fmla="*/ 0 h 2454"/>
                    <a:gd name="T22" fmla="*/ 0 w 8174"/>
                    <a:gd name="T23" fmla="*/ 0 h 2454"/>
                    <a:gd name="T24" fmla="*/ 0 w 8174"/>
                    <a:gd name="T25" fmla="*/ 0 h 2454"/>
                    <a:gd name="T26" fmla="*/ 0 w 8174"/>
                    <a:gd name="T27" fmla="*/ 0 h 2454"/>
                    <a:gd name="T28" fmla="*/ 0 w 8174"/>
                    <a:gd name="T29" fmla="*/ 0 h 2454"/>
                    <a:gd name="T30" fmla="*/ 0 w 8174"/>
                    <a:gd name="T31" fmla="*/ 0 h 2454"/>
                    <a:gd name="T32" fmla="*/ 0 w 8174"/>
                    <a:gd name="T33" fmla="*/ 0 h 2454"/>
                    <a:gd name="T34" fmla="*/ 0 w 8174"/>
                    <a:gd name="T35" fmla="*/ 0 h 2454"/>
                    <a:gd name="T36" fmla="*/ 0 w 8174"/>
                    <a:gd name="T37" fmla="*/ 0 h 2454"/>
                    <a:gd name="T38" fmla="*/ 0 w 8174"/>
                    <a:gd name="T39" fmla="*/ 0 h 2454"/>
                    <a:gd name="T40" fmla="*/ 0 w 8174"/>
                    <a:gd name="T41" fmla="*/ 0 h 2454"/>
                    <a:gd name="T42" fmla="*/ 0 w 8174"/>
                    <a:gd name="T43" fmla="*/ 0 h 2454"/>
                    <a:gd name="T44" fmla="*/ 0 w 8174"/>
                    <a:gd name="T45" fmla="*/ 0 h 2454"/>
                    <a:gd name="T46" fmla="*/ 0 w 8174"/>
                    <a:gd name="T47" fmla="*/ 0 h 2454"/>
                    <a:gd name="T48" fmla="*/ 0 w 8174"/>
                    <a:gd name="T49" fmla="*/ 0 h 2454"/>
                    <a:gd name="T50" fmla="*/ 0 w 8174"/>
                    <a:gd name="T51" fmla="*/ 0 h 2454"/>
                    <a:gd name="T52" fmla="*/ 0 w 8174"/>
                    <a:gd name="T53" fmla="*/ 0 h 2454"/>
                    <a:gd name="T54" fmla="*/ 0 w 8174"/>
                    <a:gd name="T55" fmla="*/ 0 h 2454"/>
                    <a:gd name="T56" fmla="*/ 0 w 8174"/>
                    <a:gd name="T57" fmla="*/ 0 h 2454"/>
                    <a:gd name="T58" fmla="*/ 0 w 8174"/>
                    <a:gd name="T59" fmla="*/ 0 h 2454"/>
                    <a:gd name="T60" fmla="*/ 0 w 8174"/>
                    <a:gd name="T61" fmla="*/ 0 h 2454"/>
                    <a:gd name="T62" fmla="*/ 0 w 8174"/>
                    <a:gd name="T63" fmla="*/ 0 h 2454"/>
                    <a:gd name="T64" fmla="*/ 0 w 8174"/>
                    <a:gd name="T65" fmla="*/ 0 h 2454"/>
                    <a:gd name="T66" fmla="*/ 0 w 8174"/>
                    <a:gd name="T67" fmla="*/ 0 h 24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174" h="2454">
                      <a:moveTo>
                        <a:pt x="26" y="2380"/>
                      </a:moveTo>
                      <a:lnTo>
                        <a:pt x="294" y="2248"/>
                      </a:lnTo>
                      <a:lnTo>
                        <a:pt x="565" y="2112"/>
                      </a:lnTo>
                      <a:lnTo>
                        <a:pt x="834" y="1980"/>
                      </a:lnTo>
                      <a:lnTo>
                        <a:pt x="1105" y="1844"/>
                      </a:lnTo>
                      <a:lnTo>
                        <a:pt x="1374" y="1712"/>
                      </a:lnTo>
                      <a:lnTo>
                        <a:pt x="1645" y="1576"/>
                      </a:lnTo>
                      <a:lnTo>
                        <a:pt x="1913" y="1440"/>
                      </a:lnTo>
                      <a:lnTo>
                        <a:pt x="2186" y="1308"/>
                      </a:lnTo>
                      <a:lnTo>
                        <a:pt x="2453" y="1172"/>
                      </a:lnTo>
                      <a:lnTo>
                        <a:pt x="2726" y="1040"/>
                      </a:lnTo>
                      <a:lnTo>
                        <a:pt x="2993" y="904"/>
                      </a:lnTo>
                      <a:cubicBezTo>
                        <a:pt x="2996" y="903"/>
                        <a:pt x="2998" y="902"/>
                        <a:pt x="3001" y="902"/>
                      </a:cubicBezTo>
                      <a:lnTo>
                        <a:pt x="3269" y="834"/>
                      </a:lnTo>
                      <a:lnTo>
                        <a:pt x="3541" y="766"/>
                      </a:lnTo>
                      <a:lnTo>
                        <a:pt x="3809" y="701"/>
                      </a:lnTo>
                      <a:lnTo>
                        <a:pt x="4081" y="634"/>
                      </a:lnTo>
                      <a:lnTo>
                        <a:pt x="4349" y="566"/>
                      </a:lnTo>
                      <a:lnTo>
                        <a:pt x="4621" y="498"/>
                      </a:lnTo>
                      <a:lnTo>
                        <a:pt x="4889" y="430"/>
                      </a:lnTo>
                      <a:lnTo>
                        <a:pt x="5161" y="365"/>
                      </a:lnTo>
                      <a:lnTo>
                        <a:pt x="5429" y="298"/>
                      </a:lnTo>
                      <a:lnTo>
                        <a:pt x="5701" y="230"/>
                      </a:lnTo>
                      <a:lnTo>
                        <a:pt x="5969" y="162"/>
                      </a:lnTo>
                      <a:lnTo>
                        <a:pt x="6241" y="94"/>
                      </a:lnTo>
                      <a:cubicBezTo>
                        <a:pt x="6243" y="93"/>
                        <a:pt x="6245" y="93"/>
                        <a:pt x="6248" y="93"/>
                      </a:cubicBezTo>
                      <a:lnTo>
                        <a:pt x="6516" y="81"/>
                      </a:lnTo>
                      <a:lnTo>
                        <a:pt x="6784" y="69"/>
                      </a:lnTo>
                      <a:lnTo>
                        <a:pt x="7055" y="53"/>
                      </a:lnTo>
                      <a:lnTo>
                        <a:pt x="7324" y="41"/>
                      </a:lnTo>
                      <a:lnTo>
                        <a:pt x="7596" y="29"/>
                      </a:lnTo>
                      <a:lnTo>
                        <a:pt x="7863" y="13"/>
                      </a:lnTo>
                      <a:lnTo>
                        <a:pt x="8136" y="1"/>
                      </a:lnTo>
                      <a:cubicBezTo>
                        <a:pt x="8156" y="0"/>
                        <a:pt x="8173" y="15"/>
                        <a:pt x="8173" y="35"/>
                      </a:cubicBezTo>
                      <a:cubicBezTo>
                        <a:pt x="8174" y="55"/>
                        <a:pt x="8159" y="72"/>
                        <a:pt x="8139" y="72"/>
                      </a:cubicBezTo>
                      <a:lnTo>
                        <a:pt x="7868" y="84"/>
                      </a:lnTo>
                      <a:lnTo>
                        <a:pt x="7599" y="100"/>
                      </a:lnTo>
                      <a:lnTo>
                        <a:pt x="7327" y="112"/>
                      </a:lnTo>
                      <a:lnTo>
                        <a:pt x="7060" y="124"/>
                      </a:lnTo>
                      <a:lnTo>
                        <a:pt x="6787" y="140"/>
                      </a:lnTo>
                      <a:lnTo>
                        <a:pt x="6519" y="152"/>
                      </a:lnTo>
                      <a:lnTo>
                        <a:pt x="6251" y="164"/>
                      </a:lnTo>
                      <a:lnTo>
                        <a:pt x="6258" y="163"/>
                      </a:lnTo>
                      <a:lnTo>
                        <a:pt x="5986" y="231"/>
                      </a:lnTo>
                      <a:lnTo>
                        <a:pt x="5718" y="299"/>
                      </a:lnTo>
                      <a:lnTo>
                        <a:pt x="5446" y="367"/>
                      </a:lnTo>
                      <a:lnTo>
                        <a:pt x="5178" y="436"/>
                      </a:lnTo>
                      <a:lnTo>
                        <a:pt x="4906" y="499"/>
                      </a:lnTo>
                      <a:lnTo>
                        <a:pt x="4638" y="567"/>
                      </a:lnTo>
                      <a:lnTo>
                        <a:pt x="4366" y="635"/>
                      </a:lnTo>
                      <a:lnTo>
                        <a:pt x="4098" y="703"/>
                      </a:lnTo>
                      <a:lnTo>
                        <a:pt x="3826" y="771"/>
                      </a:lnTo>
                      <a:lnTo>
                        <a:pt x="3558" y="835"/>
                      </a:lnTo>
                      <a:lnTo>
                        <a:pt x="3286" y="903"/>
                      </a:lnTo>
                      <a:lnTo>
                        <a:pt x="3018" y="971"/>
                      </a:lnTo>
                      <a:lnTo>
                        <a:pt x="3026" y="969"/>
                      </a:lnTo>
                      <a:lnTo>
                        <a:pt x="2757" y="1105"/>
                      </a:lnTo>
                      <a:lnTo>
                        <a:pt x="2486" y="1237"/>
                      </a:lnTo>
                      <a:lnTo>
                        <a:pt x="2217" y="1373"/>
                      </a:lnTo>
                      <a:lnTo>
                        <a:pt x="1946" y="1505"/>
                      </a:lnTo>
                      <a:lnTo>
                        <a:pt x="1678" y="1641"/>
                      </a:lnTo>
                      <a:lnTo>
                        <a:pt x="1405" y="1777"/>
                      </a:lnTo>
                      <a:lnTo>
                        <a:pt x="1138" y="1909"/>
                      </a:lnTo>
                      <a:lnTo>
                        <a:pt x="865" y="2045"/>
                      </a:lnTo>
                      <a:lnTo>
                        <a:pt x="598" y="2177"/>
                      </a:lnTo>
                      <a:lnTo>
                        <a:pt x="325" y="2313"/>
                      </a:lnTo>
                      <a:lnTo>
                        <a:pt x="57" y="2445"/>
                      </a:lnTo>
                      <a:cubicBezTo>
                        <a:pt x="40" y="2454"/>
                        <a:pt x="18" y="2446"/>
                        <a:pt x="9" y="2428"/>
                      </a:cubicBezTo>
                      <a:cubicBezTo>
                        <a:pt x="0" y="2411"/>
                        <a:pt x="8" y="2389"/>
                        <a:pt x="26" y="2380"/>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954" name="Freeform 383">
                  <a:extLst>
                    <a:ext uri="{FF2B5EF4-FFF2-40B4-BE49-F238E27FC236}">
                      <a16:creationId xmlns:a16="http://schemas.microsoft.com/office/drawing/2014/main" id="{A1FFB3BB-6754-BA0B-85DA-F961F9F7B683}"/>
                    </a:ext>
                  </a:extLst>
                </p:cNvPr>
                <p:cNvSpPr>
                  <a:spLocks/>
                </p:cNvSpPr>
                <p:nvPr/>
              </p:nvSpPr>
              <p:spPr bwMode="auto">
                <a:xfrm>
                  <a:off x="3070" y="3382"/>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55" name="Freeform 384">
                  <a:extLst>
                    <a:ext uri="{FF2B5EF4-FFF2-40B4-BE49-F238E27FC236}">
                      <a16:creationId xmlns:a16="http://schemas.microsoft.com/office/drawing/2014/main" id="{087C76FC-08E8-DDA3-B072-B5F18E8B2A78}"/>
                    </a:ext>
                  </a:extLst>
                </p:cNvPr>
                <p:cNvSpPr>
                  <a:spLocks noEditPoints="1"/>
                </p:cNvSpPr>
                <p:nvPr/>
              </p:nvSpPr>
              <p:spPr bwMode="auto">
                <a:xfrm>
                  <a:off x="3068" y="338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56" name="Freeform 385">
                  <a:extLst>
                    <a:ext uri="{FF2B5EF4-FFF2-40B4-BE49-F238E27FC236}">
                      <a16:creationId xmlns:a16="http://schemas.microsoft.com/office/drawing/2014/main" id="{69B7187C-04E5-98B7-F7F9-87AA0C78B1B0}"/>
                    </a:ext>
                  </a:extLst>
                </p:cNvPr>
                <p:cNvSpPr>
                  <a:spLocks/>
                </p:cNvSpPr>
                <p:nvPr/>
              </p:nvSpPr>
              <p:spPr bwMode="auto">
                <a:xfrm>
                  <a:off x="3118" y="3358"/>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57" name="Freeform 386">
                  <a:extLst>
                    <a:ext uri="{FF2B5EF4-FFF2-40B4-BE49-F238E27FC236}">
                      <a16:creationId xmlns:a16="http://schemas.microsoft.com/office/drawing/2014/main" id="{7E3BF34C-3BF9-5B82-C9BD-E7A3353172E1}"/>
                    </a:ext>
                  </a:extLst>
                </p:cNvPr>
                <p:cNvSpPr>
                  <a:spLocks noEditPoints="1"/>
                </p:cNvSpPr>
                <p:nvPr/>
              </p:nvSpPr>
              <p:spPr bwMode="auto">
                <a:xfrm>
                  <a:off x="3116" y="3356"/>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58" name="Freeform 387">
                  <a:extLst>
                    <a:ext uri="{FF2B5EF4-FFF2-40B4-BE49-F238E27FC236}">
                      <a16:creationId xmlns:a16="http://schemas.microsoft.com/office/drawing/2014/main" id="{9B3BAB47-0918-C863-49E0-BE90791EBF16}"/>
                    </a:ext>
                  </a:extLst>
                </p:cNvPr>
                <p:cNvSpPr>
                  <a:spLocks/>
                </p:cNvSpPr>
                <p:nvPr/>
              </p:nvSpPr>
              <p:spPr bwMode="auto">
                <a:xfrm>
                  <a:off x="3166" y="3335"/>
                  <a:ext cx="42" cy="41"/>
                </a:xfrm>
                <a:custGeom>
                  <a:avLst/>
                  <a:gdLst>
                    <a:gd name="T0" fmla="*/ 21 w 42"/>
                    <a:gd name="T1" fmla="*/ 0 h 41"/>
                    <a:gd name="T2" fmla="*/ 42 w 42"/>
                    <a:gd name="T3" fmla="*/ 20 h 41"/>
                    <a:gd name="T4" fmla="*/ 21 w 42"/>
                    <a:gd name="T5" fmla="*/ 41 h 41"/>
                    <a:gd name="T6" fmla="*/ 0 w 42"/>
                    <a:gd name="T7" fmla="*/ 20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59" name="Freeform 388">
                  <a:extLst>
                    <a:ext uri="{FF2B5EF4-FFF2-40B4-BE49-F238E27FC236}">
                      <a16:creationId xmlns:a16="http://schemas.microsoft.com/office/drawing/2014/main" id="{03FE2C7B-BB63-58AA-4F1E-EEA2A04E2185}"/>
                    </a:ext>
                  </a:extLst>
                </p:cNvPr>
                <p:cNvSpPr>
                  <a:spLocks noEditPoints="1"/>
                </p:cNvSpPr>
                <p:nvPr/>
              </p:nvSpPr>
              <p:spPr bwMode="auto">
                <a:xfrm>
                  <a:off x="3164" y="3332"/>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60" name="Freeform 389">
                  <a:extLst>
                    <a:ext uri="{FF2B5EF4-FFF2-40B4-BE49-F238E27FC236}">
                      <a16:creationId xmlns:a16="http://schemas.microsoft.com/office/drawing/2014/main" id="{3978F694-0D3E-E173-1118-DDEE33A80AE0}"/>
                    </a:ext>
                  </a:extLst>
                </p:cNvPr>
                <p:cNvSpPr>
                  <a:spLocks/>
                </p:cNvSpPr>
                <p:nvPr/>
              </p:nvSpPr>
              <p:spPr bwMode="auto">
                <a:xfrm>
                  <a:off x="3215" y="3310"/>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1" name="Freeform 390">
                  <a:extLst>
                    <a:ext uri="{FF2B5EF4-FFF2-40B4-BE49-F238E27FC236}">
                      <a16:creationId xmlns:a16="http://schemas.microsoft.com/office/drawing/2014/main" id="{BA8E393A-512E-36F4-A377-894853D2985E}"/>
                    </a:ext>
                  </a:extLst>
                </p:cNvPr>
                <p:cNvSpPr>
                  <a:spLocks noEditPoints="1"/>
                </p:cNvSpPr>
                <p:nvPr/>
              </p:nvSpPr>
              <p:spPr bwMode="auto">
                <a:xfrm>
                  <a:off x="3213" y="3308"/>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62" name="Freeform 391">
                  <a:extLst>
                    <a:ext uri="{FF2B5EF4-FFF2-40B4-BE49-F238E27FC236}">
                      <a16:creationId xmlns:a16="http://schemas.microsoft.com/office/drawing/2014/main" id="{EA614462-8EB7-3349-03F7-333A4D4E33B6}"/>
                    </a:ext>
                  </a:extLst>
                </p:cNvPr>
                <p:cNvSpPr>
                  <a:spLocks/>
                </p:cNvSpPr>
                <p:nvPr/>
              </p:nvSpPr>
              <p:spPr bwMode="auto">
                <a:xfrm>
                  <a:off x="3263" y="3287"/>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3" name="Freeform 392">
                  <a:extLst>
                    <a:ext uri="{FF2B5EF4-FFF2-40B4-BE49-F238E27FC236}">
                      <a16:creationId xmlns:a16="http://schemas.microsoft.com/office/drawing/2014/main" id="{0C228D61-2083-AE79-C2DF-183FA690C340}"/>
                    </a:ext>
                  </a:extLst>
                </p:cNvPr>
                <p:cNvSpPr>
                  <a:spLocks noEditPoints="1"/>
                </p:cNvSpPr>
                <p:nvPr/>
              </p:nvSpPr>
              <p:spPr bwMode="auto">
                <a:xfrm>
                  <a:off x="3260" y="3285"/>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64" name="Freeform 393">
                  <a:extLst>
                    <a:ext uri="{FF2B5EF4-FFF2-40B4-BE49-F238E27FC236}">
                      <a16:creationId xmlns:a16="http://schemas.microsoft.com/office/drawing/2014/main" id="{C45340C1-C008-1FB1-2F32-9ACAA3F6CF27}"/>
                    </a:ext>
                  </a:extLst>
                </p:cNvPr>
                <p:cNvSpPr>
                  <a:spLocks/>
                </p:cNvSpPr>
                <p:nvPr/>
              </p:nvSpPr>
              <p:spPr bwMode="auto">
                <a:xfrm>
                  <a:off x="3311" y="3263"/>
                  <a:ext cx="41" cy="41"/>
                </a:xfrm>
                <a:custGeom>
                  <a:avLst/>
                  <a:gdLst>
                    <a:gd name="T0" fmla="*/ 21 w 41"/>
                    <a:gd name="T1" fmla="*/ 0 h 41"/>
                    <a:gd name="T2" fmla="*/ 41 w 41"/>
                    <a:gd name="T3" fmla="*/ 20 h 41"/>
                    <a:gd name="T4" fmla="*/ 21 w 41"/>
                    <a:gd name="T5" fmla="*/ 41 h 41"/>
                    <a:gd name="T6" fmla="*/ 0 w 41"/>
                    <a:gd name="T7" fmla="*/ 20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5" name="Freeform 394">
                  <a:extLst>
                    <a:ext uri="{FF2B5EF4-FFF2-40B4-BE49-F238E27FC236}">
                      <a16:creationId xmlns:a16="http://schemas.microsoft.com/office/drawing/2014/main" id="{AED9EE00-00F1-056A-1FAD-8349F7D179CF}"/>
                    </a:ext>
                  </a:extLst>
                </p:cNvPr>
                <p:cNvSpPr>
                  <a:spLocks noEditPoints="1"/>
                </p:cNvSpPr>
                <p:nvPr/>
              </p:nvSpPr>
              <p:spPr bwMode="auto">
                <a:xfrm>
                  <a:off x="3309" y="3260"/>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66" name="Freeform 395">
                  <a:extLst>
                    <a:ext uri="{FF2B5EF4-FFF2-40B4-BE49-F238E27FC236}">
                      <a16:creationId xmlns:a16="http://schemas.microsoft.com/office/drawing/2014/main" id="{D74ECF1D-54A7-728E-36D9-69F0CB01E738}"/>
                    </a:ext>
                  </a:extLst>
                </p:cNvPr>
                <p:cNvSpPr>
                  <a:spLocks/>
                </p:cNvSpPr>
                <p:nvPr/>
              </p:nvSpPr>
              <p:spPr bwMode="auto">
                <a:xfrm>
                  <a:off x="3359" y="3238"/>
                  <a:ext cx="41" cy="42"/>
                </a:xfrm>
                <a:custGeom>
                  <a:avLst/>
                  <a:gdLst>
                    <a:gd name="T0" fmla="*/ 21 w 41"/>
                    <a:gd name="T1" fmla="*/ 0 h 42"/>
                    <a:gd name="T2" fmla="*/ 41 w 41"/>
                    <a:gd name="T3" fmla="*/ 21 h 42"/>
                    <a:gd name="T4" fmla="*/ 21 w 41"/>
                    <a:gd name="T5" fmla="*/ 42 h 42"/>
                    <a:gd name="T6" fmla="*/ 0 w 41"/>
                    <a:gd name="T7" fmla="*/ 21 h 42"/>
                    <a:gd name="T8" fmla="*/ 21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7" name="Freeform 396">
                  <a:extLst>
                    <a:ext uri="{FF2B5EF4-FFF2-40B4-BE49-F238E27FC236}">
                      <a16:creationId xmlns:a16="http://schemas.microsoft.com/office/drawing/2014/main" id="{E8F4B3AA-E569-9BEF-BC9D-88974BC37F77}"/>
                    </a:ext>
                  </a:extLst>
                </p:cNvPr>
                <p:cNvSpPr>
                  <a:spLocks noEditPoints="1"/>
                </p:cNvSpPr>
                <p:nvPr/>
              </p:nvSpPr>
              <p:spPr bwMode="auto">
                <a:xfrm>
                  <a:off x="3357" y="3236"/>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68" name="Freeform 397">
                  <a:extLst>
                    <a:ext uri="{FF2B5EF4-FFF2-40B4-BE49-F238E27FC236}">
                      <a16:creationId xmlns:a16="http://schemas.microsoft.com/office/drawing/2014/main" id="{CD68C34C-84A8-6BF0-559A-AC790DDC17B3}"/>
                    </a:ext>
                  </a:extLst>
                </p:cNvPr>
                <p:cNvSpPr>
                  <a:spLocks/>
                </p:cNvSpPr>
                <p:nvPr/>
              </p:nvSpPr>
              <p:spPr bwMode="auto">
                <a:xfrm>
                  <a:off x="3407" y="3215"/>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9" name="Freeform 398">
                  <a:extLst>
                    <a:ext uri="{FF2B5EF4-FFF2-40B4-BE49-F238E27FC236}">
                      <a16:creationId xmlns:a16="http://schemas.microsoft.com/office/drawing/2014/main" id="{8A34F3DC-B138-941D-305A-875CEA3BC5A4}"/>
                    </a:ext>
                  </a:extLst>
                </p:cNvPr>
                <p:cNvSpPr>
                  <a:spLocks noEditPoints="1"/>
                </p:cNvSpPr>
                <p:nvPr/>
              </p:nvSpPr>
              <p:spPr bwMode="auto">
                <a:xfrm>
                  <a:off x="3405" y="3213"/>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70" name="Freeform 399">
                  <a:extLst>
                    <a:ext uri="{FF2B5EF4-FFF2-40B4-BE49-F238E27FC236}">
                      <a16:creationId xmlns:a16="http://schemas.microsoft.com/office/drawing/2014/main" id="{5FE0EC4F-3988-71E7-C6B0-6178D29C6879}"/>
                    </a:ext>
                  </a:extLst>
                </p:cNvPr>
                <p:cNvSpPr>
                  <a:spLocks/>
                </p:cNvSpPr>
                <p:nvPr/>
              </p:nvSpPr>
              <p:spPr bwMode="auto">
                <a:xfrm>
                  <a:off x="3455" y="3191"/>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71" name="Freeform 400">
                  <a:extLst>
                    <a:ext uri="{FF2B5EF4-FFF2-40B4-BE49-F238E27FC236}">
                      <a16:creationId xmlns:a16="http://schemas.microsoft.com/office/drawing/2014/main" id="{FCC87DDA-329F-3202-6A39-93CF6ED587E3}"/>
                    </a:ext>
                  </a:extLst>
                </p:cNvPr>
                <p:cNvSpPr>
                  <a:spLocks noEditPoints="1"/>
                </p:cNvSpPr>
                <p:nvPr/>
              </p:nvSpPr>
              <p:spPr bwMode="auto">
                <a:xfrm>
                  <a:off x="3453" y="3189"/>
                  <a:ext cx="46" cy="45"/>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72" name="Freeform 401">
                  <a:extLst>
                    <a:ext uri="{FF2B5EF4-FFF2-40B4-BE49-F238E27FC236}">
                      <a16:creationId xmlns:a16="http://schemas.microsoft.com/office/drawing/2014/main" id="{6DB0B2CB-0C77-C8EE-CDE5-D3FC62A61507}"/>
                    </a:ext>
                  </a:extLst>
                </p:cNvPr>
                <p:cNvSpPr>
                  <a:spLocks/>
                </p:cNvSpPr>
                <p:nvPr/>
              </p:nvSpPr>
              <p:spPr bwMode="auto">
                <a:xfrm>
                  <a:off x="3504" y="3167"/>
                  <a:ext cx="41" cy="41"/>
                </a:xfrm>
                <a:custGeom>
                  <a:avLst/>
                  <a:gdLst>
                    <a:gd name="T0" fmla="*/ 20 w 41"/>
                    <a:gd name="T1" fmla="*/ 0 h 41"/>
                    <a:gd name="T2" fmla="*/ 41 w 41"/>
                    <a:gd name="T3" fmla="*/ 21 h 41"/>
                    <a:gd name="T4" fmla="*/ 20 w 41"/>
                    <a:gd name="T5" fmla="*/ 41 h 41"/>
                    <a:gd name="T6" fmla="*/ 0 w 41"/>
                    <a:gd name="T7" fmla="*/ 21 h 41"/>
                    <a:gd name="T8" fmla="*/ 2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73" name="Freeform 402">
                  <a:extLst>
                    <a:ext uri="{FF2B5EF4-FFF2-40B4-BE49-F238E27FC236}">
                      <a16:creationId xmlns:a16="http://schemas.microsoft.com/office/drawing/2014/main" id="{6FFE65AC-1EC9-1BFB-AF55-05811159C020}"/>
                    </a:ext>
                  </a:extLst>
                </p:cNvPr>
                <p:cNvSpPr>
                  <a:spLocks noEditPoints="1"/>
                </p:cNvSpPr>
                <p:nvPr/>
              </p:nvSpPr>
              <p:spPr bwMode="auto">
                <a:xfrm>
                  <a:off x="3501" y="3165"/>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74" name="Freeform 403">
                  <a:extLst>
                    <a:ext uri="{FF2B5EF4-FFF2-40B4-BE49-F238E27FC236}">
                      <a16:creationId xmlns:a16="http://schemas.microsoft.com/office/drawing/2014/main" id="{222D6E03-4357-B550-E2D1-E228DC690022}"/>
                    </a:ext>
                  </a:extLst>
                </p:cNvPr>
                <p:cNvSpPr>
                  <a:spLocks/>
                </p:cNvSpPr>
                <p:nvPr/>
              </p:nvSpPr>
              <p:spPr bwMode="auto">
                <a:xfrm>
                  <a:off x="3551" y="3143"/>
                  <a:ext cx="42" cy="41"/>
                </a:xfrm>
                <a:custGeom>
                  <a:avLst/>
                  <a:gdLst>
                    <a:gd name="T0" fmla="*/ 21 w 42"/>
                    <a:gd name="T1" fmla="*/ 0 h 41"/>
                    <a:gd name="T2" fmla="*/ 42 w 42"/>
                    <a:gd name="T3" fmla="*/ 21 h 41"/>
                    <a:gd name="T4" fmla="*/ 21 w 42"/>
                    <a:gd name="T5" fmla="*/ 41 h 41"/>
                    <a:gd name="T6" fmla="*/ 0 w 42"/>
                    <a:gd name="T7" fmla="*/ 21 h 41"/>
                    <a:gd name="T8" fmla="*/ 21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75" name="Freeform 404">
                  <a:extLst>
                    <a:ext uri="{FF2B5EF4-FFF2-40B4-BE49-F238E27FC236}">
                      <a16:creationId xmlns:a16="http://schemas.microsoft.com/office/drawing/2014/main" id="{5C6544A9-1C05-B237-E88F-01173C29C6C8}"/>
                    </a:ext>
                  </a:extLst>
                </p:cNvPr>
                <p:cNvSpPr>
                  <a:spLocks noEditPoints="1"/>
                </p:cNvSpPr>
                <p:nvPr/>
              </p:nvSpPr>
              <p:spPr bwMode="auto">
                <a:xfrm>
                  <a:off x="3549" y="3141"/>
                  <a:ext cx="46" cy="46"/>
                </a:xfrm>
                <a:custGeom>
                  <a:avLst/>
                  <a:gdLst>
                    <a:gd name="T0" fmla="*/ 0 w 515"/>
                    <a:gd name="T1" fmla="*/ 0 h 515"/>
                    <a:gd name="T2" fmla="*/ 0 w 515"/>
                    <a:gd name="T3" fmla="*/ 0 h 515"/>
                    <a:gd name="T4" fmla="*/ 0 w 515"/>
                    <a:gd name="T5" fmla="*/ 0 h 515"/>
                    <a:gd name="T6" fmla="*/ 0 w 515"/>
                    <a:gd name="T7" fmla="*/ 0 h 515"/>
                    <a:gd name="T8" fmla="*/ 0 w 515"/>
                    <a:gd name="T9" fmla="*/ 0 h 515"/>
                    <a:gd name="T10" fmla="*/ 0 w 515"/>
                    <a:gd name="T11" fmla="*/ 0 h 515"/>
                    <a:gd name="T12" fmla="*/ 0 w 515"/>
                    <a:gd name="T13" fmla="*/ 0 h 515"/>
                    <a:gd name="T14" fmla="*/ 0 w 515"/>
                    <a:gd name="T15" fmla="*/ 0 h 515"/>
                    <a:gd name="T16" fmla="*/ 0 w 515"/>
                    <a:gd name="T17" fmla="*/ 0 h 515"/>
                    <a:gd name="T18" fmla="*/ 0 w 515"/>
                    <a:gd name="T19" fmla="*/ 0 h 515"/>
                    <a:gd name="T20" fmla="*/ 0 w 515"/>
                    <a:gd name="T21" fmla="*/ 0 h 515"/>
                    <a:gd name="T22" fmla="*/ 0 w 515"/>
                    <a:gd name="T23" fmla="*/ 0 h 515"/>
                    <a:gd name="T24" fmla="*/ 0 w 515"/>
                    <a:gd name="T25" fmla="*/ 0 h 515"/>
                    <a:gd name="T26" fmla="*/ 0 w 515"/>
                    <a:gd name="T27" fmla="*/ 0 h 515"/>
                    <a:gd name="T28" fmla="*/ 0 w 515"/>
                    <a:gd name="T29" fmla="*/ 0 h 515"/>
                    <a:gd name="T30" fmla="*/ 0 w 515"/>
                    <a:gd name="T31" fmla="*/ 0 h 515"/>
                    <a:gd name="T32" fmla="*/ 0 w 515"/>
                    <a:gd name="T33" fmla="*/ 0 h 515"/>
                    <a:gd name="T34" fmla="*/ 0 w 515"/>
                    <a:gd name="T35" fmla="*/ 0 h 515"/>
                    <a:gd name="T36" fmla="*/ 0 w 515"/>
                    <a:gd name="T37" fmla="*/ 0 h 515"/>
                    <a:gd name="T38" fmla="*/ 0 w 515"/>
                    <a:gd name="T39" fmla="*/ 0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976" name="Freeform 405">
                  <a:extLst>
                    <a:ext uri="{FF2B5EF4-FFF2-40B4-BE49-F238E27FC236}">
                      <a16:creationId xmlns:a16="http://schemas.microsoft.com/office/drawing/2014/main" id="{C73E57A9-A225-00B2-464E-39C3CF7E0015}"/>
                    </a:ext>
                  </a:extLst>
                </p:cNvPr>
                <p:cNvSpPr>
                  <a:spLocks/>
                </p:cNvSpPr>
                <p:nvPr/>
              </p:nvSpPr>
              <p:spPr bwMode="auto">
                <a:xfrm>
                  <a:off x="3600" y="3119"/>
                  <a:ext cx="41" cy="41"/>
                </a:xfrm>
                <a:custGeom>
                  <a:avLst/>
                  <a:gdLst>
                    <a:gd name="T0" fmla="*/ 21 w 41"/>
                    <a:gd name="T1" fmla="*/ 0 h 41"/>
                    <a:gd name="T2" fmla="*/ 41 w 41"/>
                    <a:gd name="T3" fmla="*/ 21 h 41"/>
                    <a:gd name="T4" fmla="*/ 21 w 41"/>
                    <a:gd name="T5" fmla="*/ 41 h 41"/>
                    <a:gd name="T6" fmla="*/ 0 w 41"/>
                    <a:gd name="T7" fmla="*/ 21 h 41"/>
                    <a:gd name="T8" fmla="*/ 21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sp>
            <p:nvSpPr>
              <p:cNvPr id="620" name="Freeform 407">
                <a:extLst>
                  <a:ext uri="{FF2B5EF4-FFF2-40B4-BE49-F238E27FC236}">
                    <a16:creationId xmlns:a16="http://schemas.microsoft.com/office/drawing/2014/main" id="{F3F9CFA8-818D-8516-CECC-641A9981ACC6}"/>
                  </a:ext>
                </a:extLst>
              </p:cNvPr>
              <p:cNvSpPr>
                <a:spLocks noEditPoints="1"/>
              </p:cNvSpPr>
              <p:nvPr/>
            </p:nvSpPr>
            <p:spPr bwMode="auto">
              <a:xfrm>
                <a:off x="6354780" y="5014931"/>
                <a:ext cx="73025" cy="71437"/>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21" name="Freeform 408">
                <a:extLst>
                  <a:ext uri="{FF2B5EF4-FFF2-40B4-BE49-F238E27FC236}">
                    <a16:creationId xmlns:a16="http://schemas.microsoft.com/office/drawing/2014/main" id="{F0B2888D-1D2C-75B0-A7F6-E9A137107325}"/>
                  </a:ext>
                </a:extLst>
              </p:cNvPr>
              <p:cNvSpPr>
                <a:spLocks/>
              </p:cNvSpPr>
              <p:nvPr/>
            </p:nvSpPr>
            <p:spPr bwMode="auto">
              <a:xfrm>
                <a:off x="6434155" y="499905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22" name="Freeform 409">
                <a:extLst>
                  <a:ext uri="{FF2B5EF4-FFF2-40B4-BE49-F238E27FC236}">
                    <a16:creationId xmlns:a16="http://schemas.microsoft.com/office/drawing/2014/main" id="{44974996-BF4A-1875-F3BF-5EAB473745C9}"/>
                  </a:ext>
                </a:extLst>
              </p:cNvPr>
              <p:cNvSpPr>
                <a:spLocks noEditPoints="1"/>
              </p:cNvSpPr>
              <p:nvPr/>
            </p:nvSpPr>
            <p:spPr bwMode="auto">
              <a:xfrm>
                <a:off x="6430980" y="4995881"/>
                <a:ext cx="71438"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23" name="Freeform 410">
                <a:extLst>
                  <a:ext uri="{FF2B5EF4-FFF2-40B4-BE49-F238E27FC236}">
                    <a16:creationId xmlns:a16="http://schemas.microsoft.com/office/drawing/2014/main" id="{C9505E97-EA93-02CF-AB34-D5B0983E97D4}"/>
                  </a:ext>
                </a:extLst>
              </p:cNvPr>
              <p:cNvSpPr>
                <a:spLocks/>
              </p:cNvSpPr>
              <p:nvPr/>
            </p:nvSpPr>
            <p:spPr bwMode="auto">
              <a:xfrm>
                <a:off x="6508768" y="4980006"/>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24" name="Freeform 411">
                <a:extLst>
                  <a:ext uri="{FF2B5EF4-FFF2-40B4-BE49-F238E27FC236}">
                    <a16:creationId xmlns:a16="http://schemas.microsoft.com/office/drawing/2014/main" id="{DDE663AE-4A92-69D7-F4AE-EC0204B487BF}"/>
                  </a:ext>
                </a:extLst>
              </p:cNvPr>
              <p:cNvSpPr>
                <a:spLocks noEditPoints="1"/>
              </p:cNvSpPr>
              <p:nvPr/>
            </p:nvSpPr>
            <p:spPr bwMode="auto">
              <a:xfrm>
                <a:off x="6505593" y="497683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25" name="Freeform 412">
                <a:extLst>
                  <a:ext uri="{FF2B5EF4-FFF2-40B4-BE49-F238E27FC236}">
                    <a16:creationId xmlns:a16="http://schemas.microsoft.com/office/drawing/2014/main" id="{B04DCBEF-79EC-62DB-599E-F1CA13CFDCD9}"/>
                  </a:ext>
                </a:extLst>
              </p:cNvPr>
              <p:cNvSpPr>
                <a:spLocks/>
              </p:cNvSpPr>
              <p:nvPr/>
            </p:nvSpPr>
            <p:spPr bwMode="auto">
              <a:xfrm>
                <a:off x="6586555" y="4960956"/>
                <a:ext cx="65088"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26" name="Freeform 413">
                <a:extLst>
                  <a:ext uri="{FF2B5EF4-FFF2-40B4-BE49-F238E27FC236}">
                    <a16:creationId xmlns:a16="http://schemas.microsoft.com/office/drawing/2014/main" id="{39BFB497-3702-D7B7-F2A2-3E322AC22CE0}"/>
                  </a:ext>
                </a:extLst>
              </p:cNvPr>
              <p:cNvSpPr>
                <a:spLocks noEditPoints="1"/>
              </p:cNvSpPr>
              <p:nvPr/>
            </p:nvSpPr>
            <p:spPr bwMode="auto">
              <a:xfrm>
                <a:off x="6583380" y="495778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27" name="Freeform 414">
                <a:extLst>
                  <a:ext uri="{FF2B5EF4-FFF2-40B4-BE49-F238E27FC236}">
                    <a16:creationId xmlns:a16="http://schemas.microsoft.com/office/drawing/2014/main" id="{6C5CC55D-EA74-B576-6B1F-BF75C2F90CAE}"/>
                  </a:ext>
                </a:extLst>
              </p:cNvPr>
              <p:cNvSpPr>
                <a:spLocks/>
              </p:cNvSpPr>
              <p:nvPr/>
            </p:nvSpPr>
            <p:spPr bwMode="auto">
              <a:xfrm>
                <a:off x="6662755" y="4941906"/>
                <a:ext cx="65088"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28" name="Freeform 415">
                <a:extLst>
                  <a:ext uri="{FF2B5EF4-FFF2-40B4-BE49-F238E27FC236}">
                    <a16:creationId xmlns:a16="http://schemas.microsoft.com/office/drawing/2014/main" id="{80DFB92C-4857-870F-A42C-19D6015E2F14}"/>
                  </a:ext>
                </a:extLst>
              </p:cNvPr>
              <p:cNvSpPr>
                <a:spLocks noEditPoints="1"/>
              </p:cNvSpPr>
              <p:nvPr/>
            </p:nvSpPr>
            <p:spPr bwMode="auto">
              <a:xfrm>
                <a:off x="6659580" y="493873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29" name="Freeform 416">
                <a:extLst>
                  <a:ext uri="{FF2B5EF4-FFF2-40B4-BE49-F238E27FC236}">
                    <a16:creationId xmlns:a16="http://schemas.microsoft.com/office/drawing/2014/main" id="{1B07FACD-E112-DF87-8F6F-6C86D81977D0}"/>
                  </a:ext>
                </a:extLst>
              </p:cNvPr>
              <p:cNvSpPr>
                <a:spLocks/>
              </p:cNvSpPr>
              <p:nvPr/>
            </p:nvSpPr>
            <p:spPr bwMode="auto">
              <a:xfrm>
                <a:off x="6738955" y="4922856"/>
                <a:ext cx="66675" cy="65087"/>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0" name="Freeform 417">
                <a:extLst>
                  <a:ext uri="{FF2B5EF4-FFF2-40B4-BE49-F238E27FC236}">
                    <a16:creationId xmlns:a16="http://schemas.microsoft.com/office/drawing/2014/main" id="{98C938ED-032F-23BD-B480-EB99A842CF8F}"/>
                  </a:ext>
                </a:extLst>
              </p:cNvPr>
              <p:cNvSpPr>
                <a:spLocks noEditPoints="1"/>
              </p:cNvSpPr>
              <p:nvPr/>
            </p:nvSpPr>
            <p:spPr bwMode="auto">
              <a:xfrm>
                <a:off x="6735780" y="491968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31" name="Freeform 418">
                <a:extLst>
                  <a:ext uri="{FF2B5EF4-FFF2-40B4-BE49-F238E27FC236}">
                    <a16:creationId xmlns:a16="http://schemas.microsoft.com/office/drawing/2014/main" id="{8A3289DB-CC7B-EE21-4A6B-ECD2E97FD734}"/>
                  </a:ext>
                </a:extLst>
              </p:cNvPr>
              <p:cNvSpPr>
                <a:spLocks/>
              </p:cNvSpPr>
              <p:nvPr/>
            </p:nvSpPr>
            <p:spPr bwMode="auto">
              <a:xfrm>
                <a:off x="6815155" y="490539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2" name="Freeform 419">
                <a:extLst>
                  <a:ext uri="{FF2B5EF4-FFF2-40B4-BE49-F238E27FC236}">
                    <a16:creationId xmlns:a16="http://schemas.microsoft.com/office/drawing/2014/main" id="{8511A28D-E382-629B-C82D-D30E09A429BB}"/>
                  </a:ext>
                </a:extLst>
              </p:cNvPr>
              <p:cNvSpPr>
                <a:spLocks noEditPoints="1"/>
              </p:cNvSpPr>
              <p:nvPr/>
            </p:nvSpPr>
            <p:spPr bwMode="auto">
              <a:xfrm>
                <a:off x="6811980" y="490063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33" name="Freeform 420">
                <a:extLst>
                  <a:ext uri="{FF2B5EF4-FFF2-40B4-BE49-F238E27FC236}">
                    <a16:creationId xmlns:a16="http://schemas.microsoft.com/office/drawing/2014/main" id="{37A5D371-8DD2-E097-A576-0E1BF31C7486}"/>
                  </a:ext>
                </a:extLst>
              </p:cNvPr>
              <p:cNvSpPr>
                <a:spLocks/>
              </p:cNvSpPr>
              <p:nvPr/>
            </p:nvSpPr>
            <p:spPr bwMode="auto">
              <a:xfrm>
                <a:off x="6892943" y="4884756"/>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4" name="Freeform 421">
                <a:extLst>
                  <a:ext uri="{FF2B5EF4-FFF2-40B4-BE49-F238E27FC236}">
                    <a16:creationId xmlns:a16="http://schemas.microsoft.com/office/drawing/2014/main" id="{B8C292CD-5373-E582-94BB-F76859A5645E}"/>
                  </a:ext>
                </a:extLst>
              </p:cNvPr>
              <p:cNvSpPr>
                <a:spLocks noEditPoints="1"/>
              </p:cNvSpPr>
              <p:nvPr/>
            </p:nvSpPr>
            <p:spPr bwMode="auto">
              <a:xfrm>
                <a:off x="6888180" y="488158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35" name="Freeform 422">
                <a:extLst>
                  <a:ext uri="{FF2B5EF4-FFF2-40B4-BE49-F238E27FC236}">
                    <a16:creationId xmlns:a16="http://schemas.microsoft.com/office/drawing/2014/main" id="{87166CEF-FA68-CD41-E3E9-1F0ED0687CD6}"/>
                  </a:ext>
                </a:extLst>
              </p:cNvPr>
              <p:cNvSpPr>
                <a:spLocks/>
              </p:cNvSpPr>
              <p:nvPr/>
            </p:nvSpPr>
            <p:spPr bwMode="auto">
              <a:xfrm>
                <a:off x="6967555" y="4865706"/>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6" name="Freeform 423">
                <a:extLst>
                  <a:ext uri="{FF2B5EF4-FFF2-40B4-BE49-F238E27FC236}">
                    <a16:creationId xmlns:a16="http://schemas.microsoft.com/office/drawing/2014/main" id="{B5A70D25-8721-53F5-1B2A-E399BB6C7941}"/>
                  </a:ext>
                </a:extLst>
              </p:cNvPr>
              <p:cNvSpPr>
                <a:spLocks noEditPoints="1"/>
              </p:cNvSpPr>
              <p:nvPr/>
            </p:nvSpPr>
            <p:spPr bwMode="auto">
              <a:xfrm>
                <a:off x="6964380" y="486253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37" name="Freeform 424">
                <a:extLst>
                  <a:ext uri="{FF2B5EF4-FFF2-40B4-BE49-F238E27FC236}">
                    <a16:creationId xmlns:a16="http://schemas.microsoft.com/office/drawing/2014/main" id="{B5C55D10-4237-E245-1737-F67DD087DC61}"/>
                  </a:ext>
                </a:extLst>
              </p:cNvPr>
              <p:cNvSpPr>
                <a:spLocks/>
              </p:cNvSpPr>
              <p:nvPr/>
            </p:nvSpPr>
            <p:spPr bwMode="auto">
              <a:xfrm>
                <a:off x="7045343" y="4846656"/>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8" name="Freeform 425">
                <a:extLst>
                  <a:ext uri="{FF2B5EF4-FFF2-40B4-BE49-F238E27FC236}">
                    <a16:creationId xmlns:a16="http://schemas.microsoft.com/office/drawing/2014/main" id="{D804A1B1-93BD-4C80-1C10-FF9547DA90A6}"/>
                  </a:ext>
                </a:extLst>
              </p:cNvPr>
              <p:cNvSpPr>
                <a:spLocks noEditPoints="1"/>
              </p:cNvSpPr>
              <p:nvPr/>
            </p:nvSpPr>
            <p:spPr bwMode="auto">
              <a:xfrm>
                <a:off x="7042168" y="484348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39" name="Freeform 426">
                <a:extLst>
                  <a:ext uri="{FF2B5EF4-FFF2-40B4-BE49-F238E27FC236}">
                    <a16:creationId xmlns:a16="http://schemas.microsoft.com/office/drawing/2014/main" id="{952C2D55-8ADA-7C8B-74B3-040EEC633D84}"/>
                  </a:ext>
                </a:extLst>
              </p:cNvPr>
              <p:cNvSpPr>
                <a:spLocks/>
              </p:cNvSpPr>
              <p:nvPr/>
            </p:nvSpPr>
            <p:spPr bwMode="auto">
              <a:xfrm>
                <a:off x="7121543" y="4829193"/>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0" name="Freeform 427">
                <a:extLst>
                  <a:ext uri="{FF2B5EF4-FFF2-40B4-BE49-F238E27FC236}">
                    <a16:creationId xmlns:a16="http://schemas.microsoft.com/office/drawing/2014/main" id="{78857B75-9A7D-E690-BB5F-1CA455E9F02C}"/>
                  </a:ext>
                </a:extLst>
              </p:cNvPr>
              <p:cNvSpPr>
                <a:spLocks noEditPoints="1"/>
              </p:cNvSpPr>
              <p:nvPr/>
            </p:nvSpPr>
            <p:spPr bwMode="auto">
              <a:xfrm>
                <a:off x="7116780" y="4826018"/>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41" name="Freeform 428">
                <a:extLst>
                  <a:ext uri="{FF2B5EF4-FFF2-40B4-BE49-F238E27FC236}">
                    <a16:creationId xmlns:a16="http://schemas.microsoft.com/office/drawing/2014/main" id="{1EC20AEB-DD1E-9CEC-6531-3EC82C22786D}"/>
                  </a:ext>
                </a:extLst>
              </p:cNvPr>
              <p:cNvSpPr>
                <a:spLocks/>
              </p:cNvSpPr>
              <p:nvPr/>
            </p:nvSpPr>
            <p:spPr bwMode="auto">
              <a:xfrm>
                <a:off x="7197743" y="4810143"/>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2" name="Freeform 429">
                <a:extLst>
                  <a:ext uri="{FF2B5EF4-FFF2-40B4-BE49-F238E27FC236}">
                    <a16:creationId xmlns:a16="http://schemas.microsoft.com/office/drawing/2014/main" id="{89735287-ADF4-BC0E-B14C-45BC54E8C0F4}"/>
                  </a:ext>
                </a:extLst>
              </p:cNvPr>
              <p:cNvSpPr>
                <a:spLocks noEditPoints="1"/>
              </p:cNvSpPr>
              <p:nvPr/>
            </p:nvSpPr>
            <p:spPr bwMode="auto">
              <a:xfrm>
                <a:off x="7194568" y="4806968"/>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43" name="Freeform 430">
                <a:extLst>
                  <a:ext uri="{FF2B5EF4-FFF2-40B4-BE49-F238E27FC236}">
                    <a16:creationId xmlns:a16="http://schemas.microsoft.com/office/drawing/2014/main" id="{2468C01D-C767-87FD-CB83-FFDA67CCF4B2}"/>
                  </a:ext>
                </a:extLst>
              </p:cNvPr>
              <p:cNvSpPr>
                <a:spLocks/>
              </p:cNvSpPr>
              <p:nvPr/>
            </p:nvSpPr>
            <p:spPr bwMode="auto">
              <a:xfrm>
                <a:off x="7273943" y="4791093"/>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4" name="Freeform 431">
                <a:extLst>
                  <a:ext uri="{FF2B5EF4-FFF2-40B4-BE49-F238E27FC236}">
                    <a16:creationId xmlns:a16="http://schemas.microsoft.com/office/drawing/2014/main" id="{19801DC7-459B-2A7B-54B6-C2C8608FF37E}"/>
                  </a:ext>
                </a:extLst>
              </p:cNvPr>
              <p:cNvSpPr>
                <a:spLocks noEditPoints="1"/>
              </p:cNvSpPr>
              <p:nvPr/>
            </p:nvSpPr>
            <p:spPr bwMode="auto">
              <a:xfrm>
                <a:off x="7270768" y="478633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45" name="Freeform 432">
                <a:extLst>
                  <a:ext uri="{FF2B5EF4-FFF2-40B4-BE49-F238E27FC236}">
                    <a16:creationId xmlns:a16="http://schemas.microsoft.com/office/drawing/2014/main" id="{B966B010-3E3E-5CEE-4172-2685535C30A9}"/>
                  </a:ext>
                </a:extLst>
              </p:cNvPr>
              <p:cNvSpPr>
                <a:spLocks/>
              </p:cNvSpPr>
              <p:nvPr/>
            </p:nvSpPr>
            <p:spPr bwMode="auto">
              <a:xfrm>
                <a:off x="7350143" y="4786331"/>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6" name="Freeform 433">
                <a:extLst>
                  <a:ext uri="{FF2B5EF4-FFF2-40B4-BE49-F238E27FC236}">
                    <a16:creationId xmlns:a16="http://schemas.microsoft.com/office/drawing/2014/main" id="{9B86DEFB-ADC6-B031-7412-1879F9FA6DA7}"/>
                  </a:ext>
                </a:extLst>
              </p:cNvPr>
              <p:cNvSpPr>
                <a:spLocks noEditPoints="1"/>
              </p:cNvSpPr>
              <p:nvPr/>
            </p:nvSpPr>
            <p:spPr bwMode="auto">
              <a:xfrm>
                <a:off x="7346968" y="4783156"/>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47" name="Freeform 434">
                <a:extLst>
                  <a:ext uri="{FF2B5EF4-FFF2-40B4-BE49-F238E27FC236}">
                    <a16:creationId xmlns:a16="http://schemas.microsoft.com/office/drawing/2014/main" id="{3046B47B-7656-43E4-1631-B4E63F263040}"/>
                  </a:ext>
                </a:extLst>
              </p:cNvPr>
              <p:cNvSpPr>
                <a:spLocks/>
              </p:cNvSpPr>
              <p:nvPr/>
            </p:nvSpPr>
            <p:spPr bwMode="auto">
              <a:xfrm>
                <a:off x="7426343" y="4783156"/>
                <a:ext cx="66675" cy="65087"/>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8" name="Freeform 435">
                <a:extLst>
                  <a:ext uri="{FF2B5EF4-FFF2-40B4-BE49-F238E27FC236}">
                    <a16:creationId xmlns:a16="http://schemas.microsoft.com/office/drawing/2014/main" id="{00F2EC9D-A832-EF41-08F5-9AB0E41B9D2C}"/>
                  </a:ext>
                </a:extLst>
              </p:cNvPr>
              <p:cNvSpPr>
                <a:spLocks noEditPoints="1"/>
              </p:cNvSpPr>
              <p:nvPr/>
            </p:nvSpPr>
            <p:spPr bwMode="auto">
              <a:xfrm>
                <a:off x="7423168" y="4779981"/>
                <a:ext cx="73025" cy="71437"/>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49" name="Freeform 436">
                <a:extLst>
                  <a:ext uri="{FF2B5EF4-FFF2-40B4-BE49-F238E27FC236}">
                    <a16:creationId xmlns:a16="http://schemas.microsoft.com/office/drawing/2014/main" id="{4F07B84A-FC06-F082-0432-779F729D5318}"/>
                  </a:ext>
                </a:extLst>
              </p:cNvPr>
              <p:cNvSpPr>
                <a:spLocks/>
              </p:cNvSpPr>
              <p:nvPr/>
            </p:nvSpPr>
            <p:spPr bwMode="auto">
              <a:xfrm>
                <a:off x="7502543" y="4779981"/>
                <a:ext cx="65087"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0" name="Freeform 437">
                <a:extLst>
                  <a:ext uri="{FF2B5EF4-FFF2-40B4-BE49-F238E27FC236}">
                    <a16:creationId xmlns:a16="http://schemas.microsoft.com/office/drawing/2014/main" id="{80E42502-E5C1-9326-50D2-A82E6F9B563F}"/>
                  </a:ext>
                </a:extLst>
              </p:cNvPr>
              <p:cNvSpPr>
                <a:spLocks noEditPoints="1"/>
              </p:cNvSpPr>
              <p:nvPr/>
            </p:nvSpPr>
            <p:spPr bwMode="auto">
              <a:xfrm>
                <a:off x="7499368" y="4775218"/>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51" name="Freeform 438">
                <a:extLst>
                  <a:ext uri="{FF2B5EF4-FFF2-40B4-BE49-F238E27FC236}">
                    <a16:creationId xmlns:a16="http://schemas.microsoft.com/office/drawing/2014/main" id="{EC6B7656-2F86-1188-BAFE-A85F0B1CF43C}"/>
                  </a:ext>
                </a:extLst>
              </p:cNvPr>
              <p:cNvSpPr>
                <a:spLocks/>
              </p:cNvSpPr>
              <p:nvPr/>
            </p:nvSpPr>
            <p:spPr bwMode="auto">
              <a:xfrm>
                <a:off x="7578743" y="477521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2" name="Freeform 439">
                <a:extLst>
                  <a:ext uri="{FF2B5EF4-FFF2-40B4-BE49-F238E27FC236}">
                    <a16:creationId xmlns:a16="http://schemas.microsoft.com/office/drawing/2014/main" id="{9EBC8C6C-8547-17C5-A1BB-E71D049BAB70}"/>
                  </a:ext>
                </a:extLst>
              </p:cNvPr>
              <p:cNvSpPr>
                <a:spLocks noEditPoints="1"/>
              </p:cNvSpPr>
              <p:nvPr/>
            </p:nvSpPr>
            <p:spPr bwMode="auto">
              <a:xfrm>
                <a:off x="7575568" y="4772043"/>
                <a:ext cx="73025" cy="71438"/>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53" name="Freeform 440">
                <a:extLst>
                  <a:ext uri="{FF2B5EF4-FFF2-40B4-BE49-F238E27FC236}">
                    <a16:creationId xmlns:a16="http://schemas.microsoft.com/office/drawing/2014/main" id="{0F8E17AF-3219-EC20-F6BC-3E25649783BD}"/>
                  </a:ext>
                </a:extLst>
              </p:cNvPr>
              <p:cNvSpPr>
                <a:spLocks/>
              </p:cNvSpPr>
              <p:nvPr/>
            </p:nvSpPr>
            <p:spPr bwMode="auto">
              <a:xfrm>
                <a:off x="7654943" y="4772043"/>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4" name="Freeform 441">
                <a:extLst>
                  <a:ext uri="{FF2B5EF4-FFF2-40B4-BE49-F238E27FC236}">
                    <a16:creationId xmlns:a16="http://schemas.microsoft.com/office/drawing/2014/main" id="{E4F2F2A3-C592-C23C-439B-33D524072733}"/>
                  </a:ext>
                </a:extLst>
              </p:cNvPr>
              <p:cNvSpPr>
                <a:spLocks noEditPoints="1"/>
              </p:cNvSpPr>
              <p:nvPr/>
            </p:nvSpPr>
            <p:spPr bwMode="auto">
              <a:xfrm>
                <a:off x="7651768" y="476728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55" name="Freeform 442">
                <a:extLst>
                  <a:ext uri="{FF2B5EF4-FFF2-40B4-BE49-F238E27FC236}">
                    <a16:creationId xmlns:a16="http://schemas.microsoft.com/office/drawing/2014/main" id="{422FCC0A-D807-0391-7698-BC9A26AA5499}"/>
                  </a:ext>
                </a:extLst>
              </p:cNvPr>
              <p:cNvSpPr>
                <a:spLocks/>
              </p:cNvSpPr>
              <p:nvPr/>
            </p:nvSpPr>
            <p:spPr bwMode="auto">
              <a:xfrm>
                <a:off x="7732730" y="476728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6" name="Freeform 443">
                <a:extLst>
                  <a:ext uri="{FF2B5EF4-FFF2-40B4-BE49-F238E27FC236}">
                    <a16:creationId xmlns:a16="http://schemas.microsoft.com/office/drawing/2014/main" id="{F2FE8797-7818-C21B-FD2E-185E5AFB3C78}"/>
                  </a:ext>
                </a:extLst>
              </p:cNvPr>
              <p:cNvSpPr>
                <a:spLocks noEditPoints="1"/>
              </p:cNvSpPr>
              <p:nvPr/>
            </p:nvSpPr>
            <p:spPr bwMode="auto">
              <a:xfrm>
                <a:off x="7729555" y="4764106"/>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57" name="Freeform 444">
                <a:extLst>
                  <a:ext uri="{FF2B5EF4-FFF2-40B4-BE49-F238E27FC236}">
                    <a16:creationId xmlns:a16="http://schemas.microsoft.com/office/drawing/2014/main" id="{095665A3-70EE-4D50-7EA2-C214B48699CE}"/>
                  </a:ext>
                </a:extLst>
              </p:cNvPr>
              <p:cNvSpPr>
                <a:spLocks/>
              </p:cNvSpPr>
              <p:nvPr/>
            </p:nvSpPr>
            <p:spPr bwMode="auto">
              <a:xfrm>
                <a:off x="7807343" y="4764106"/>
                <a:ext cx="66675" cy="65087"/>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8" name="Freeform 445">
                <a:extLst>
                  <a:ext uri="{FF2B5EF4-FFF2-40B4-BE49-F238E27FC236}">
                    <a16:creationId xmlns:a16="http://schemas.microsoft.com/office/drawing/2014/main" id="{D24681D4-7F70-9C6B-DABF-4E98B6F9D847}"/>
                  </a:ext>
                </a:extLst>
              </p:cNvPr>
              <p:cNvSpPr>
                <a:spLocks noEditPoints="1"/>
              </p:cNvSpPr>
              <p:nvPr/>
            </p:nvSpPr>
            <p:spPr bwMode="auto">
              <a:xfrm>
                <a:off x="7804168" y="4759343"/>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59" name="Rectangle 446">
                <a:extLst>
                  <a:ext uri="{FF2B5EF4-FFF2-40B4-BE49-F238E27FC236}">
                    <a16:creationId xmlns:a16="http://schemas.microsoft.com/office/drawing/2014/main" id="{BBA5FC0D-1ABD-1F61-00EE-BC68EB29B0A9}"/>
                  </a:ext>
                </a:extLst>
              </p:cNvPr>
              <p:cNvSpPr>
                <a:spLocks noChangeArrowheads="1"/>
              </p:cNvSpPr>
              <p:nvPr/>
            </p:nvSpPr>
            <p:spPr bwMode="auto">
              <a:xfrm>
                <a:off x="5378468" y="5407043"/>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660" name="Rectangle 447">
                <a:extLst>
                  <a:ext uri="{FF2B5EF4-FFF2-40B4-BE49-F238E27FC236}">
                    <a16:creationId xmlns:a16="http://schemas.microsoft.com/office/drawing/2014/main" id="{36C1C11F-C747-9FEF-EE4C-478F9DA1FB94}"/>
                  </a:ext>
                </a:extLst>
              </p:cNvPr>
              <p:cNvSpPr>
                <a:spLocks noChangeArrowheads="1"/>
              </p:cNvSpPr>
              <p:nvPr/>
            </p:nvSpPr>
            <p:spPr bwMode="auto">
              <a:xfrm>
                <a:off x="5329255" y="5256231"/>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661" name="Rectangle 448">
                <a:extLst>
                  <a:ext uri="{FF2B5EF4-FFF2-40B4-BE49-F238E27FC236}">
                    <a16:creationId xmlns:a16="http://schemas.microsoft.com/office/drawing/2014/main" id="{6AD191C0-DB8A-B234-89F3-7AD6B897D522}"/>
                  </a:ext>
                </a:extLst>
              </p:cNvPr>
              <p:cNvSpPr>
                <a:spLocks noChangeArrowheads="1"/>
              </p:cNvSpPr>
              <p:nvPr/>
            </p:nvSpPr>
            <p:spPr bwMode="auto">
              <a:xfrm>
                <a:off x="5329255" y="5103831"/>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0</a:t>
                </a:r>
                <a:endParaRPr lang="en-US" altLang="en-US" dirty="0"/>
              </a:p>
            </p:txBody>
          </p:sp>
          <p:sp>
            <p:nvSpPr>
              <p:cNvPr id="662" name="Rectangle 449">
                <a:extLst>
                  <a:ext uri="{FF2B5EF4-FFF2-40B4-BE49-F238E27FC236}">
                    <a16:creationId xmlns:a16="http://schemas.microsoft.com/office/drawing/2014/main" id="{8CA2486B-5AAC-99DE-F667-3EECA7B3ADAB}"/>
                  </a:ext>
                </a:extLst>
              </p:cNvPr>
              <p:cNvSpPr>
                <a:spLocks noChangeArrowheads="1"/>
              </p:cNvSpPr>
              <p:nvPr/>
            </p:nvSpPr>
            <p:spPr bwMode="auto">
              <a:xfrm>
                <a:off x="5329255" y="495143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0</a:t>
                </a:r>
                <a:endParaRPr lang="en-US" altLang="en-US" dirty="0"/>
              </a:p>
            </p:txBody>
          </p:sp>
          <p:sp>
            <p:nvSpPr>
              <p:cNvPr id="663" name="Rectangle 450">
                <a:extLst>
                  <a:ext uri="{FF2B5EF4-FFF2-40B4-BE49-F238E27FC236}">
                    <a16:creationId xmlns:a16="http://schemas.microsoft.com/office/drawing/2014/main" id="{3542A388-E938-CEA1-3A9C-082E99852E9F}"/>
                  </a:ext>
                </a:extLst>
              </p:cNvPr>
              <p:cNvSpPr>
                <a:spLocks noChangeArrowheads="1"/>
              </p:cNvSpPr>
              <p:nvPr/>
            </p:nvSpPr>
            <p:spPr bwMode="auto">
              <a:xfrm>
                <a:off x="5329255" y="4800618"/>
                <a:ext cx="15875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0</a:t>
                </a:r>
                <a:endParaRPr lang="en-US" altLang="en-US" dirty="0"/>
              </a:p>
            </p:txBody>
          </p:sp>
          <p:sp>
            <p:nvSpPr>
              <p:cNvPr id="664" name="Rectangle 451">
                <a:extLst>
                  <a:ext uri="{FF2B5EF4-FFF2-40B4-BE49-F238E27FC236}">
                    <a16:creationId xmlns:a16="http://schemas.microsoft.com/office/drawing/2014/main" id="{ACAD8ACE-20FF-361B-262B-A5ACD5B397C0}"/>
                  </a:ext>
                </a:extLst>
              </p:cNvPr>
              <p:cNvSpPr>
                <a:spLocks noChangeArrowheads="1"/>
              </p:cNvSpPr>
              <p:nvPr/>
            </p:nvSpPr>
            <p:spPr bwMode="auto">
              <a:xfrm>
                <a:off x="5281630" y="4648218"/>
                <a:ext cx="211138"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0</a:t>
                </a:r>
                <a:endParaRPr lang="en-US" altLang="en-US" dirty="0"/>
              </a:p>
            </p:txBody>
          </p:sp>
          <p:sp>
            <p:nvSpPr>
              <p:cNvPr id="665" name="Rectangle 452">
                <a:extLst>
                  <a:ext uri="{FF2B5EF4-FFF2-40B4-BE49-F238E27FC236}">
                    <a16:creationId xmlns:a16="http://schemas.microsoft.com/office/drawing/2014/main" id="{11F6974B-CCA6-46F7-EF08-BC9046C4FE7F}"/>
                  </a:ext>
                </a:extLst>
              </p:cNvPr>
              <p:cNvSpPr>
                <a:spLocks noChangeArrowheads="1"/>
              </p:cNvSpPr>
              <p:nvPr/>
            </p:nvSpPr>
            <p:spPr bwMode="auto">
              <a:xfrm>
                <a:off x="5527693" y="5529281"/>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666" name="Rectangle 453">
                <a:extLst>
                  <a:ext uri="{FF2B5EF4-FFF2-40B4-BE49-F238E27FC236}">
                    <a16:creationId xmlns:a16="http://schemas.microsoft.com/office/drawing/2014/main" id="{5AF40A94-8296-259B-55D9-42FE9A9ED191}"/>
                  </a:ext>
                </a:extLst>
              </p:cNvPr>
              <p:cNvSpPr>
                <a:spLocks noChangeArrowheads="1"/>
              </p:cNvSpPr>
              <p:nvPr/>
            </p:nvSpPr>
            <p:spPr bwMode="auto">
              <a:xfrm>
                <a:off x="5680093" y="5529281"/>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667" name="Rectangle 454">
                <a:extLst>
                  <a:ext uri="{FF2B5EF4-FFF2-40B4-BE49-F238E27FC236}">
                    <a16:creationId xmlns:a16="http://schemas.microsoft.com/office/drawing/2014/main" id="{3C4110C1-E039-8240-CB4F-D416F7BCCC13}"/>
                  </a:ext>
                </a:extLst>
              </p:cNvPr>
              <p:cNvSpPr>
                <a:spLocks noChangeArrowheads="1"/>
              </p:cNvSpPr>
              <p:nvPr/>
            </p:nvSpPr>
            <p:spPr bwMode="auto">
              <a:xfrm>
                <a:off x="5832493" y="5529281"/>
                <a:ext cx="1063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668" name="Rectangle 455">
                <a:extLst>
                  <a:ext uri="{FF2B5EF4-FFF2-40B4-BE49-F238E27FC236}">
                    <a16:creationId xmlns:a16="http://schemas.microsoft.com/office/drawing/2014/main" id="{5C57E0FB-F759-4605-FF51-C42470937703}"/>
                  </a:ext>
                </a:extLst>
              </p:cNvPr>
              <p:cNvSpPr>
                <a:spLocks noChangeArrowheads="1"/>
              </p:cNvSpPr>
              <p:nvPr/>
            </p:nvSpPr>
            <p:spPr bwMode="auto">
              <a:xfrm>
                <a:off x="5984893" y="5529281"/>
                <a:ext cx="1063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669" name="Rectangle 456">
                <a:extLst>
                  <a:ext uri="{FF2B5EF4-FFF2-40B4-BE49-F238E27FC236}">
                    <a16:creationId xmlns:a16="http://schemas.microsoft.com/office/drawing/2014/main" id="{F1A6FF4F-1BAD-68D7-213C-D2EF1140BED7}"/>
                  </a:ext>
                </a:extLst>
              </p:cNvPr>
              <p:cNvSpPr>
                <a:spLocks noChangeArrowheads="1"/>
              </p:cNvSpPr>
              <p:nvPr/>
            </p:nvSpPr>
            <p:spPr bwMode="auto">
              <a:xfrm>
                <a:off x="6138880" y="5529281"/>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670" name="Rectangle 457">
                <a:extLst>
                  <a:ext uri="{FF2B5EF4-FFF2-40B4-BE49-F238E27FC236}">
                    <a16:creationId xmlns:a16="http://schemas.microsoft.com/office/drawing/2014/main" id="{3A0A321A-156A-590B-41C6-F4473805D925}"/>
                  </a:ext>
                </a:extLst>
              </p:cNvPr>
              <p:cNvSpPr>
                <a:spLocks noChangeArrowheads="1"/>
              </p:cNvSpPr>
              <p:nvPr/>
            </p:nvSpPr>
            <p:spPr bwMode="auto">
              <a:xfrm>
                <a:off x="6267468"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671" name="Rectangle 458">
                <a:extLst>
                  <a:ext uri="{FF2B5EF4-FFF2-40B4-BE49-F238E27FC236}">
                    <a16:creationId xmlns:a16="http://schemas.microsoft.com/office/drawing/2014/main" id="{654770D1-6C4B-AE55-D9F0-338762F80284}"/>
                  </a:ext>
                </a:extLst>
              </p:cNvPr>
              <p:cNvSpPr>
                <a:spLocks noChangeArrowheads="1"/>
              </p:cNvSpPr>
              <p:nvPr/>
            </p:nvSpPr>
            <p:spPr bwMode="auto">
              <a:xfrm>
                <a:off x="6419868"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672" name="Rectangle 459">
                <a:extLst>
                  <a:ext uri="{FF2B5EF4-FFF2-40B4-BE49-F238E27FC236}">
                    <a16:creationId xmlns:a16="http://schemas.microsoft.com/office/drawing/2014/main" id="{99774BDB-24BC-C05C-4D0D-37E87C90F20B}"/>
                  </a:ext>
                </a:extLst>
              </p:cNvPr>
              <p:cNvSpPr>
                <a:spLocks noChangeArrowheads="1"/>
              </p:cNvSpPr>
              <p:nvPr/>
            </p:nvSpPr>
            <p:spPr bwMode="auto">
              <a:xfrm>
                <a:off x="6572268"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673" name="Rectangle 460">
                <a:extLst>
                  <a:ext uri="{FF2B5EF4-FFF2-40B4-BE49-F238E27FC236}">
                    <a16:creationId xmlns:a16="http://schemas.microsoft.com/office/drawing/2014/main" id="{68648188-AFE0-DBC7-41D8-E853652EB391}"/>
                  </a:ext>
                </a:extLst>
              </p:cNvPr>
              <p:cNvSpPr>
                <a:spLocks noChangeArrowheads="1"/>
              </p:cNvSpPr>
              <p:nvPr/>
            </p:nvSpPr>
            <p:spPr bwMode="auto">
              <a:xfrm>
                <a:off x="6726255" y="5529281"/>
                <a:ext cx="15716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674" name="Rectangle 461">
                <a:extLst>
                  <a:ext uri="{FF2B5EF4-FFF2-40B4-BE49-F238E27FC236}">
                    <a16:creationId xmlns:a16="http://schemas.microsoft.com/office/drawing/2014/main" id="{D55DE3A1-A48F-5A4F-7E76-E64111A3B6D1}"/>
                  </a:ext>
                </a:extLst>
              </p:cNvPr>
              <p:cNvSpPr>
                <a:spLocks noChangeArrowheads="1"/>
              </p:cNvSpPr>
              <p:nvPr/>
            </p:nvSpPr>
            <p:spPr bwMode="auto">
              <a:xfrm>
                <a:off x="6878655"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675" name="Rectangle 462">
                <a:extLst>
                  <a:ext uri="{FF2B5EF4-FFF2-40B4-BE49-F238E27FC236}">
                    <a16:creationId xmlns:a16="http://schemas.microsoft.com/office/drawing/2014/main" id="{7E1FCA0F-D5AD-5C03-1544-84BD57EC7421}"/>
                  </a:ext>
                </a:extLst>
              </p:cNvPr>
              <p:cNvSpPr>
                <a:spLocks noChangeArrowheads="1"/>
              </p:cNvSpPr>
              <p:nvPr/>
            </p:nvSpPr>
            <p:spPr bwMode="auto">
              <a:xfrm>
                <a:off x="7031055"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676" name="Rectangle 463">
                <a:extLst>
                  <a:ext uri="{FF2B5EF4-FFF2-40B4-BE49-F238E27FC236}">
                    <a16:creationId xmlns:a16="http://schemas.microsoft.com/office/drawing/2014/main" id="{E487CE20-6DD2-C38F-748B-0936A57CB321}"/>
                  </a:ext>
                </a:extLst>
              </p:cNvPr>
              <p:cNvSpPr>
                <a:spLocks noChangeArrowheads="1"/>
              </p:cNvSpPr>
              <p:nvPr/>
            </p:nvSpPr>
            <p:spPr bwMode="auto">
              <a:xfrm>
                <a:off x="7183455"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677" name="Rectangle 464">
                <a:extLst>
                  <a:ext uri="{FF2B5EF4-FFF2-40B4-BE49-F238E27FC236}">
                    <a16:creationId xmlns:a16="http://schemas.microsoft.com/office/drawing/2014/main" id="{35C8FDF4-BB4C-DD47-685E-9771F4BCE192}"/>
                  </a:ext>
                </a:extLst>
              </p:cNvPr>
              <p:cNvSpPr>
                <a:spLocks noChangeArrowheads="1"/>
              </p:cNvSpPr>
              <p:nvPr/>
            </p:nvSpPr>
            <p:spPr bwMode="auto">
              <a:xfrm>
                <a:off x="7335855"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678" name="Rectangle 465">
                <a:extLst>
                  <a:ext uri="{FF2B5EF4-FFF2-40B4-BE49-F238E27FC236}">
                    <a16:creationId xmlns:a16="http://schemas.microsoft.com/office/drawing/2014/main" id="{C1C77013-5348-4881-986A-C9D81312C6F6}"/>
                  </a:ext>
                </a:extLst>
              </p:cNvPr>
              <p:cNvSpPr>
                <a:spLocks noChangeArrowheads="1"/>
              </p:cNvSpPr>
              <p:nvPr/>
            </p:nvSpPr>
            <p:spPr bwMode="auto">
              <a:xfrm>
                <a:off x="7489843"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679" name="Rectangle 466">
                <a:extLst>
                  <a:ext uri="{FF2B5EF4-FFF2-40B4-BE49-F238E27FC236}">
                    <a16:creationId xmlns:a16="http://schemas.microsoft.com/office/drawing/2014/main" id="{2D13A548-DD34-810F-69DA-0BFBBD3040FD}"/>
                  </a:ext>
                </a:extLst>
              </p:cNvPr>
              <p:cNvSpPr>
                <a:spLocks noChangeArrowheads="1"/>
              </p:cNvSpPr>
              <p:nvPr/>
            </p:nvSpPr>
            <p:spPr bwMode="auto">
              <a:xfrm>
                <a:off x="7642243"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680" name="Rectangle 467">
                <a:extLst>
                  <a:ext uri="{FF2B5EF4-FFF2-40B4-BE49-F238E27FC236}">
                    <a16:creationId xmlns:a16="http://schemas.microsoft.com/office/drawing/2014/main" id="{EFA07E91-3A65-C767-920B-92DBF84C2DA7}"/>
                  </a:ext>
                </a:extLst>
              </p:cNvPr>
              <p:cNvSpPr>
                <a:spLocks noChangeArrowheads="1"/>
              </p:cNvSpPr>
              <p:nvPr/>
            </p:nvSpPr>
            <p:spPr bwMode="auto">
              <a:xfrm>
                <a:off x="7794643" y="5529281"/>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681" name="Rectangle 468">
                <a:extLst>
                  <a:ext uri="{FF2B5EF4-FFF2-40B4-BE49-F238E27FC236}">
                    <a16:creationId xmlns:a16="http://schemas.microsoft.com/office/drawing/2014/main" id="{A8468E67-F457-C25C-FFBE-DDED2ABB19C2}"/>
                  </a:ext>
                </a:extLst>
              </p:cNvPr>
              <p:cNvSpPr>
                <a:spLocks noChangeArrowheads="1"/>
              </p:cNvSpPr>
              <p:nvPr/>
            </p:nvSpPr>
            <p:spPr bwMode="auto">
              <a:xfrm>
                <a:off x="6021405" y="4384693"/>
                <a:ext cx="1317625"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Piecewise Linear</a:t>
                </a:r>
                <a:endParaRPr lang="en-US" altLang="en-US" dirty="0"/>
              </a:p>
            </p:txBody>
          </p:sp>
          <p:sp>
            <p:nvSpPr>
              <p:cNvPr id="682" name="Freeform 469">
                <a:extLst>
                  <a:ext uri="{FF2B5EF4-FFF2-40B4-BE49-F238E27FC236}">
                    <a16:creationId xmlns:a16="http://schemas.microsoft.com/office/drawing/2014/main" id="{2F45851C-223C-795F-EAB2-FC0C3AC47A4A}"/>
                  </a:ext>
                </a:extLst>
              </p:cNvPr>
              <p:cNvSpPr>
                <a:spLocks noEditPoints="1"/>
              </p:cNvSpPr>
              <p:nvPr/>
            </p:nvSpPr>
            <p:spPr bwMode="auto">
              <a:xfrm>
                <a:off x="5216543" y="4310081"/>
                <a:ext cx="2776537" cy="1398587"/>
              </a:xfrm>
              <a:custGeom>
                <a:avLst/>
                <a:gdLst>
                  <a:gd name="T0" fmla="*/ 0 w 9808"/>
                  <a:gd name="T1" fmla="*/ 2147483647 h 4948"/>
                  <a:gd name="T2" fmla="*/ 2147483647 w 9808"/>
                  <a:gd name="T3" fmla="*/ 0 h 4948"/>
                  <a:gd name="T4" fmla="*/ 2147483647 w 9808"/>
                  <a:gd name="T5" fmla="*/ 0 h 4948"/>
                  <a:gd name="T6" fmla="*/ 2147483647 w 9808"/>
                  <a:gd name="T7" fmla="*/ 2147483647 h 4948"/>
                  <a:gd name="T8" fmla="*/ 2147483647 w 9808"/>
                  <a:gd name="T9" fmla="*/ 2147483647 h 4948"/>
                  <a:gd name="T10" fmla="*/ 2147483647 w 9808"/>
                  <a:gd name="T11" fmla="*/ 2147483647 h 4948"/>
                  <a:gd name="T12" fmla="*/ 2147483647 w 9808"/>
                  <a:gd name="T13" fmla="*/ 2147483647 h 4948"/>
                  <a:gd name="T14" fmla="*/ 0 w 9808"/>
                  <a:gd name="T15" fmla="*/ 2147483647 h 4948"/>
                  <a:gd name="T16" fmla="*/ 0 w 9808"/>
                  <a:gd name="T17" fmla="*/ 2147483647 h 4948"/>
                  <a:gd name="T18" fmla="*/ 2147483647 w 9808"/>
                  <a:gd name="T19" fmla="*/ 2147483647 h 4948"/>
                  <a:gd name="T20" fmla="*/ 2147483647 w 9808"/>
                  <a:gd name="T21" fmla="*/ 2147483647 h 4948"/>
                  <a:gd name="T22" fmla="*/ 2147483647 w 9808"/>
                  <a:gd name="T23" fmla="*/ 2147483647 h 4948"/>
                  <a:gd name="T24" fmla="*/ 2147483647 w 9808"/>
                  <a:gd name="T25" fmla="*/ 2147483647 h 4948"/>
                  <a:gd name="T26" fmla="*/ 2147483647 w 9808"/>
                  <a:gd name="T27" fmla="*/ 2147483647 h 4948"/>
                  <a:gd name="T28" fmla="*/ 2147483647 w 9808"/>
                  <a:gd name="T29" fmla="*/ 2147483647 h 4948"/>
                  <a:gd name="T30" fmla="*/ 2147483647 w 9808"/>
                  <a:gd name="T31" fmla="*/ 2147483647 h 4948"/>
                  <a:gd name="T32" fmla="*/ 2147483647 w 9808"/>
                  <a:gd name="T33" fmla="*/ 2147483647 h 4948"/>
                  <a:gd name="T34" fmla="*/ 2147483647 w 9808"/>
                  <a:gd name="T35" fmla="*/ 2147483647 h 49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808" h="4948">
                    <a:moveTo>
                      <a:pt x="0" y="12"/>
                    </a:moveTo>
                    <a:cubicBezTo>
                      <a:pt x="0" y="6"/>
                      <a:pt x="6" y="0"/>
                      <a:pt x="12" y="0"/>
                    </a:cubicBezTo>
                    <a:lnTo>
                      <a:pt x="9796" y="0"/>
                    </a:lnTo>
                    <a:cubicBezTo>
                      <a:pt x="9803" y="0"/>
                      <a:pt x="9808" y="6"/>
                      <a:pt x="9808" y="12"/>
                    </a:cubicBezTo>
                    <a:lnTo>
                      <a:pt x="9808" y="4936"/>
                    </a:lnTo>
                    <a:cubicBezTo>
                      <a:pt x="9808" y="4943"/>
                      <a:pt x="9803" y="4948"/>
                      <a:pt x="9796" y="4948"/>
                    </a:cubicBezTo>
                    <a:lnTo>
                      <a:pt x="12" y="4948"/>
                    </a:lnTo>
                    <a:cubicBezTo>
                      <a:pt x="6" y="4948"/>
                      <a:pt x="0" y="4943"/>
                      <a:pt x="0" y="4936"/>
                    </a:cubicBezTo>
                    <a:lnTo>
                      <a:pt x="0" y="12"/>
                    </a:lnTo>
                    <a:close/>
                    <a:moveTo>
                      <a:pt x="24" y="4936"/>
                    </a:moveTo>
                    <a:lnTo>
                      <a:pt x="12" y="4924"/>
                    </a:lnTo>
                    <a:lnTo>
                      <a:pt x="9796" y="4924"/>
                    </a:lnTo>
                    <a:lnTo>
                      <a:pt x="9784" y="4936"/>
                    </a:lnTo>
                    <a:lnTo>
                      <a:pt x="9784" y="12"/>
                    </a:lnTo>
                    <a:lnTo>
                      <a:pt x="9796" y="24"/>
                    </a:lnTo>
                    <a:lnTo>
                      <a:pt x="12" y="24"/>
                    </a:lnTo>
                    <a:lnTo>
                      <a:pt x="24" y="12"/>
                    </a:lnTo>
                    <a:lnTo>
                      <a:pt x="24" y="4936"/>
                    </a:lnTo>
                    <a:close/>
                  </a:path>
                </a:pathLst>
              </a:custGeom>
              <a:solidFill>
                <a:srgbClr val="868686"/>
              </a:solidFill>
              <a:ln w="0" cap="flat">
                <a:solidFill>
                  <a:srgbClr val="868686"/>
                </a:solidFill>
                <a:prstDash val="solid"/>
                <a:round/>
                <a:headEnd/>
                <a:tailEnd/>
              </a:ln>
            </p:spPr>
            <p:txBody>
              <a:bodyPr/>
              <a:lstStyle/>
              <a:p>
                <a:endParaRPr lang="en-US" dirty="0"/>
              </a:p>
            </p:txBody>
          </p:sp>
          <p:sp>
            <p:nvSpPr>
              <p:cNvPr id="683" name="Rectangle 470">
                <a:extLst>
                  <a:ext uri="{FF2B5EF4-FFF2-40B4-BE49-F238E27FC236}">
                    <a16:creationId xmlns:a16="http://schemas.microsoft.com/office/drawing/2014/main" id="{D802A579-CDA3-C555-AC9B-FE29E1160BEE}"/>
                  </a:ext>
                </a:extLst>
              </p:cNvPr>
              <p:cNvSpPr>
                <a:spLocks noChangeArrowheads="1"/>
              </p:cNvSpPr>
              <p:nvPr/>
            </p:nvSpPr>
            <p:spPr bwMode="auto">
              <a:xfrm>
                <a:off x="5238768" y="1449406"/>
                <a:ext cx="2767012" cy="1387475"/>
              </a:xfrm>
              <a:prstGeom prst="rect">
                <a:avLst/>
              </a:prstGeom>
              <a:solidFill>
                <a:srgbClr val="FFFFFF"/>
              </a:solidFill>
              <a:ln w="9525">
                <a:solidFill>
                  <a:srgbClr val="000000"/>
                </a:solidFill>
                <a:miter lim="800000"/>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84" name="Rectangle 471">
                <a:extLst>
                  <a:ext uri="{FF2B5EF4-FFF2-40B4-BE49-F238E27FC236}">
                    <a16:creationId xmlns:a16="http://schemas.microsoft.com/office/drawing/2014/main" id="{84D1FD94-4259-E493-205D-37EB66BFD066}"/>
                  </a:ext>
                </a:extLst>
              </p:cNvPr>
              <p:cNvSpPr>
                <a:spLocks noChangeArrowheads="1"/>
              </p:cNvSpPr>
              <p:nvPr/>
            </p:nvSpPr>
            <p:spPr bwMode="auto">
              <a:xfrm>
                <a:off x="5483243" y="1846281"/>
                <a:ext cx="2414587" cy="7540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85" name="Freeform 472">
                <a:extLst>
                  <a:ext uri="{FF2B5EF4-FFF2-40B4-BE49-F238E27FC236}">
                    <a16:creationId xmlns:a16="http://schemas.microsoft.com/office/drawing/2014/main" id="{A25DB3A0-1905-923F-6B17-FEB2C7767A75}"/>
                  </a:ext>
                </a:extLst>
              </p:cNvPr>
              <p:cNvSpPr>
                <a:spLocks noEditPoints="1"/>
              </p:cNvSpPr>
              <p:nvPr/>
            </p:nvSpPr>
            <p:spPr bwMode="auto">
              <a:xfrm>
                <a:off x="5483243" y="1843106"/>
                <a:ext cx="2414587" cy="611187"/>
              </a:xfrm>
              <a:custGeom>
                <a:avLst/>
                <a:gdLst>
                  <a:gd name="T0" fmla="*/ 0 w 1521"/>
                  <a:gd name="T1" fmla="*/ 2147483647 h 385"/>
                  <a:gd name="T2" fmla="*/ 2147483647 w 1521"/>
                  <a:gd name="T3" fmla="*/ 2147483647 h 385"/>
                  <a:gd name="T4" fmla="*/ 2147483647 w 1521"/>
                  <a:gd name="T5" fmla="*/ 2147483647 h 385"/>
                  <a:gd name="T6" fmla="*/ 0 w 1521"/>
                  <a:gd name="T7" fmla="*/ 2147483647 h 385"/>
                  <a:gd name="T8" fmla="*/ 0 w 1521"/>
                  <a:gd name="T9" fmla="*/ 2147483647 h 385"/>
                  <a:gd name="T10" fmla="*/ 0 w 1521"/>
                  <a:gd name="T11" fmla="*/ 2147483647 h 385"/>
                  <a:gd name="T12" fmla="*/ 2147483647 w 1521"/>
                  <a:gd name="T13" fmla="*/ 2147483647 h 385"/>
                  <a:gd name="T14" fmla="*/ 2147483647 w 1521"/>
                  <a:gd name="T15" fmla="*/ 2147483647 h 385"/>
                  <a:gd name="T16" fmla="*/ 0 w 1521"/>
                  <a:gd name="T17" fmla="*/ 2147483647 h 385"/>
                  <a:gd name="T18" fmla="*/ 0 w 1521"/>
                  <a:gd name="T19" fmla="*/ 2147483647 h 385"/>
                  <a:gd name="T20" fmla="*/ 0 w 1521"/>
                  <a:gd name="T21" fmla="*/ 2147483647 h 385"/>
                  <a:gd name="T22" fmla="*/ 2147483647 w 1521"/>
                  <a:gd name="T23" fmla="*/ 2147483647 h 385"/>
                  <a:gd name="T24" fmla="*/ 2147483647 w 1521"/>
                  <a:gd name="T25" fmla="*/ 2147483647 h 385"/>
                  <a:gd name="T26" fmla="*/ 0 w 1521"/>
                  <a:gd name="T27" fmla="*/ 2147483647 h 385"/>
                  <a:gd name="T28" fmla="*/ 0 w 1521"/>
                  <a:gd name="T29" fmla="*/ 2147483647 h 385"/>
                  <a:gd name="T30" fmla="*/ 0 w 1521"/>
                  <a:gd name="T31" fmla="*/ 2147483647 h 385"/>
                  <a:gd name="T32" fmla="*/ 2147483647 w 1521"/>
                  <a:gd name="T33" fmla="*/ 2147483647 h 385"/>
                  <a:gd name="T34" fmla="*/ 2147483647 w 1521"/>
                  <a:gd name="T35" fmla="*/ 2147483647 h 385"/>
                  <a:gd name="T36" fmla="*/ 0 w 1521"/>
                  <a:gd name="T37" fmla="*/ 2147483647 h 385"/>
                  <a:gd name="T38" fmla="*/ 0 w 1521"/>
                  <a:gd name="T39" fmla="*/ 2147483647 h 385"/>
                  <a:gd name="T40" fmla="*/ 0 w 1521"/>
                  <a:gd name="T41" fmla="*/ 0 h 385"/>
                  <a:gd name="T42" fmla="*/ 2147483647 w 1521"/>
                  <a:gd name="T43" fmla="*/ 0 h 385"/>
                  <a:gd name="T44" fmla="*/ 2147483647 w 1521"/>
                  <a:gd name="T45" fmla="*/ 2147483647 h 385"/>
                  <a:gd name="T46" fmla="*/ 0 w 1521"/>
                  <a:gd name="T47" fmla="*/ 2147483647 h 385"/>
                  <a:gd name="T48" fmla="*/ 0 w 1521"/>
                  <a:gd name="T49" fmla="*/ 0 h 38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521" h="385">
                    <a:moveTo>
                      <a:pt x="0" y="381"/>
                    </a:moveTo>
                    <a:lnTo>
                      <a:pt x="1521" y="381"/>
                    </a:lnTo>
                    <a:lnTo>
                      <a:pt x="1521" y="385"/>
                    </a:lnTo>
                    <a:lnTo>
                      <a:pt x="0" y="385"/>
                    </a:lnTo>
                    <a:lnTo>
                      <a:pt x="0" y="381"/>
                    </a:lnTo>
                    <a:close/>
                    <a:moveTo>
                      <a:pt x="0" y="285"/>
                    </a:moveTo>
                    <a:lnTo>
                      <a:pt x="1521" y="285"/>
                    </a:lnTo>
                    <a:lnTo>
                      <a:pt x="1521" y="289"/>
                    </a:lnTo>
                    <a:lnTo>
                      <a:pt x="0" y="289"/>
                    </a:lnTo>
                    <a:lnTo>
                      <a:pt x="0" y="285"/>
                    </a:lnTo>
                    <a:close/>
                    <a:moveTo>
                      <a:pt x="0" y="190"/>
                    </a:moveTo>
                    <a:lnTo>
                      <a:pt x="1521" y="190"/>
                    </a:lnTo>
                    <a:lnTo>
                      <a:pt x="1521" y="194"/>
                    </a:lnTo>
                    <a:lnTo>
                      <a:pt x="0" y="194"/>
                    </a:lnTo>
                    <a:lnTo>
                      <a:pt x="0" y="190"/>
                    </a:lnTo>
                    <a:close/>
                    <a:moveTo>
                      <a:pt x="0" y="94"/>
                    </a:moveTo>
                    <a:lnTo>
                      <a:pt x="1521" y="94"/>
                    </a:lnTo>
                    <a:lnTo>
                      <a:pt x="1521" y="99"/>
                    </a:lnTo>
                    <a:lnTo>
                      <a:pt x="0" y="99"/>
                    </a:lnTo>
                    <a:lnTo>
                      <a:pt x="0" y="94"/>
                    </a:lnTo>
                    <a:close/>
                    <a:moveTo>
                      <a:pt x="0" y="0"/>
                    </a:moveTo>
                    <a:lnTo>
                      <a:pt x="1521" y="0"/>
                    </a:lnTo>
                    <a:lnTo>
                      <a:pt x="1521" y="4"/>
                    </a:lnTo>
                    <a:lnTo>
                      <a:pt x="0" y="4"/>
                    </a:lnTo>
                    <a:lnTo>
                      <a:pt x="0" y="0"/>
                    </a:lnTo>
                    <a:close/>
                  </a:path>
                </a:pathLst>
              </a:custGeom>
              <a:solidFill>
                <a:srgbClr val="D9D9D9"/>
              </a:solidFill>
              <a:ln w="1" cap="flat">
                <a:solidFill>
                  <a:srgbClr val="D9D9D9"/>
                </a:solidFill>
                <a:prstDash val="solid"/>
                <a:bevel/>
                <a:headEnd/>
                <a:tailEnd/>
              </a:ln>
            </p:spPr>
            <p:txBody>
              <a:bodyPr/>
              <a:lstStyle/>
              <a:p>
                <a:endParaRPr lang="en-US" dirty="0"/>
              </a:p>
            </p:txBody>
          </p:sp>
          <p:sp>
            <p:nvSpPr>
              <p:cNvPr id="686" name="Rectangle 473">
                <a:extLst>
                  <a:ext uri="{FF2B5EF4-FFF2-40B4-BE49-F238E27FC236}">
                    <a16:creationId xmlns:a16="http://schemas.microsoft.com/office/drawing/2014/main" id="{D570B7A3-EC88-CE13-3C2D-4104A67C1C13}"/>
                  </a:ext>
                </a:extLst>
              </p:cNvPr>
              <p:cNvSpPr>
                <a:spLocks noChangeArrowheads="1"/>
              </p:cNvSpPr>
              <p:nvPr/>
            </p:nvSpPr>
            <p:spPr bwMode="auto">
              <a:xfrm>
                <a:off x="5480068" y="1846281"/>
                <a:ext cx="6350" cy="754062"/>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87" name="Freeform 474">
                <a:extLst>
                  <a:ext uri="{FF2B5EF4-FFF2-40B4-BE49-F238E27FC236}">
                    <a16:creationId xmlns:a16="http://schemas.microsoft.com/office/drawing/2014/main" id="{E96CF90F-92E0-4DAD-1E35-8D60F2B6E816}"/>
                  </a:ext>
                </a:extLst>
              </p:cNvPr>
              <p:cNvSpPr>
                <a:spLocks noEditPoints="1"/>
              </p:cNvSpPr>
              <p:nvPr/>
            </p:nvSpPr>
            <p:spPr bwMode="auto">
              <a:xfrm>
                <a:off x="5454668" y="1843106"/>
                <a:ext cx="28575" cy="762000"/>
              </a:xfrm>
              <a:custGeom>
                <a:avLst/>
                <a:gdLst>
                  <a:gd name="T0" fmla="*/ 0 w 18"/>
                  <a:gd name="T1" fmla="*/ 2147483647 h 480"/>
                  <a:gd name="T2" fmla="*/ 2147483647 w 18"/>
                  <a:gd name="T3" fmla="*/ 2147483647 h 480"/>
                  <a:gd name="T4" fmla="*/ 2147483647 w 18"/>
                  <a:gd name="T5" fmla="*/ 2147483647 h 480"/>
                  <a:gd name="T6" fmla="*/ 0 w 18"/>
                  <a:gd name="T7" fmla="*/ 2147483647 h 480"/>
                  <a:gd name="T8" fmla="*/ 0 w 18"/>
                  <a:gd name="T9" fmla="*/ 2147483647 h 480"/>
                  <a:gd name="T10" fmla="*/ 0 w 18"/>
                  <a:gd name="T11" fmla="*/ 2147483647 h 480"/>
                  <a:gd name="T12" fmla="*/ 2147483647 w 18"/>
                  <a:gd name="T13" fmla="*/ 2147483647 h 480"/>
                  <a:gd name="T14" fmla="*/ 2147483647 w 18"/>
                  <a:gd name="T15" fmla="*/ 2147483647 h 480"/>
                  <a:gd name="T16" fmla="*/ 0 w 18"/>
                  <a:gd name="T17" fmla="*/ 2147483647 h 480"/>
                  <a:gd name="T18" fmla="*/ 0 w 18"/>
                  <a:gd name="T19" fmla="*/ 2147483647 h 480"/>
                  <a:gd name="T20" fmla="*/ 0 w 18"/>
                  <a:gd name="T21" fmla="*/ 2147483647 h 480"/>
                  <a:gd name="T22" fmla="*/ 2147483647 w 18"/>
                  <a:gd name="T23" fmla="*/ 2147483647 h 480"/>
                  <a:gd name="T24" fmla="*/ 2147483647 w 18"/>
                  <a:gd name="T25" fmla="*/ 2147483647 h 480"/>
                  <a:gd name="T26" fmla="*/ 0 w 18"/>
                  <a:gd name="T27" fmla="*/ 2147483647 h 480"/>
                  <a:gd name="T28" fmla="*/ 0 w 18"/>
                  <a:gd name="T29" fmla="*/ 2147483647 h 480"/>
                  <a:gd name="T30" fmla="*/ 0 w 18"/>
                  <a:gd name="T31" fmla="*/ 2147483647 h 480"/>
                  <a:gd name="T32" fmla="*/ 2147483647 w 18"/>
                  <a:gd name="T33" fmla="*/ 2147483647 h 480"/>
                  <a:gd name="T34" fmla="*/ 2147483647 w 18"/>
                  <a:gd name="T35" fmla="*/ 2147483647 h 480"/>
                  <a:gd name="T36" fmla="*/ 0 w 18"/>
                  <a:gd name="T37" fmla="*/ 2147483647 h 480"/>
                  <a:gd name="T38" fmla="*/ 0 w 18"/>
                  <a:gd name="T39" fmla="*/ 2147483647 h 480"/>
                  <a:gd name="T40" fmla="*/ 0 w 18"/>
                  <a:gd name="T41" fmla="*/ 2147483647 h 480"/>
                  <a:gd name="T42" fmla="*/ 2147483647 w 18"/>
                  <a:gd name="T43" fmla="*/ 2147483647 h 480"/>
                  <a:gd name="T44" fmla="*/ 2147483647 w 18"/>
                  <a:gd name="T45" fmla="*/ 2147483647 h 480"/>
                  <a:gd name="T46" fmla="*/ 0 w 18"/>
                  <a:gd name="T47" fmla="*/ 2147483647 h 480"/>
                  <a:gd name="T48" fmla="*/ 0 w 18"/>
                  <a:gd name="T49" fmla="*/ 2147483647 h 480"/>
                  <a:gd name="T50" fmla="*/ 0 w 18"/>
                  <a:gd name="T51" fmla="*/ 0 h 480"/>
                  <a:gd name="T52" fmla="*/ 2147483647 w 18"/>
                  <a:gd name="T53" fmla="*/ 0 h 480"/>
                  <a:gd name="T54" fmla="*/ 2147483647 w 18"/>
                  <a:gd name="T55" fmla="*/ 2147483647 h 480"/>
                  <a:gd name="T56" fmla="*/ 0 w 18"/>
                  <a:gd name="T57" fmla="*/ 2147483647 h 480"/>
                  <a:gd name="T58" fmla="*/ 0 w 18"/>
                  <a:gd name="T59" fmla="*/ 0 h 48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8" h="480">
                    <a:moveTo>
                      <a:pt x="0" y="475"/>
                    </a:moveTo>
                    <a:lnTo>
                      <a:pt x="18" y="475"/>
                    </a:lnTo>
                    <a:lnTo>
                      <a:pt x="18" y="480"/>
                    </a:lnTo>
                    <a:lnTo>
                      <a:pt x="0" y="480"/>
                    </a:lnTo>
                    <a:lnTo>
                      <a:pt x="0" y="475"/>
                    </a:lnTo>
                    <a:close/>
                    <a:moveTo>
                      <a:pt x="0" y="381"/>
                    </a:moveTo>
                    <a:lnTo>
                      <a:pt x="18" y="381"/>
                    </a:lnTo>
                    <a:lnTo>
                      <a:pt x="18" y="385"/>
                    </a:lnTo>
                    <a:lnTo>
                      <a:pt x="0" y="385"/>
                    </a:lnTo>
                    <a:lnTo>
                      <a:pt x="0" y="381"/>
                    </a:lnTo>
                    <a:close/>
                    <a:moveTo>
                      <a:pt x="0" y="285"/>
                    </a:moveTo>
                    <a:lnTo>
                      <a:pt x="18" y="285"/>
                    </a:lnTo>
                    <a:lnTo>
                      <a:pt x="18" y="289"/>
                    </a:lnTo>
                    <a:lnTo>
                      <a:pt x="0" y="289"/>
                    </a:lnTo>
                    <a:lnTo>
                      <a:pt x="0" y="285"/>
                    </a:lnTo>
                    <a:close/>
                    <a:moveTo>
                      <a:pt x="0" y="190"/>
                    </a:moveTo>
                    <a:lnTo>
                      <a:pt x="18" y="190"/>
                    </a:lnTo>
                    <a:lnTo>
                      <a:pt x="18" y="194"/>
                    </a:lnTo>
                    <a:lnTo>
                      <a:pt x="0" y="194"/>
                    </a:lnTo>
                    <a:lnTo>
                      <a:pt x="0" y="190"/>
                    </a:lnTo>
                    <a:close/>
                    <a:moveTo>
                      <a:pt x="0" y="94"/>
                    </a:moveTo>
                    <a:lnTo>
                      <a:pt x="18" y="94"/>
                    </a:lnTo>
                    <a:lnTo>
                      <a:pt x="18" y="99"/>
                    </a:lnTo>
                    <a:lnTo>
                      <a:pt x="0" y="99"/>
                    </a:lnTo>
                    <a:lnTo>
                      <a:pt x="0" y="94"/>
                    </a:lnTo>
                    <a:close/>
                    <a:moveTo>
                      <a:pt x="0" y="0"/>
                    </a:moveTo>
                    <a:lnTo>
                      <a:pt x="18" y="0"/>
                    </a:lnTo>
                    <a:lnTo>
                      <a:pt x="18" y="4"/>
                    </a:lnTo>
                    <a:lnTo>
                      <a:pt x="0" y="4"/>
                    </a:lnTo>
                    <a:lnTo>
                      <a:pt x="0"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688" name="Rectangle 475">
                <a:extLst>
                  <a:ext uri="{FF2B5EF4-FFF2-40B4-BE49-F238E27FC236}">
                    <a16:creationId xmlns:a16="http://schemas.microsoft.com/office/drawing/2014/main" id="{71FFAD57-82A2-AA7A-B6D5-F1FCD1DEC12D}"/>
                  </a:ext>
                </a:extLst>
              </p:cNvPr>
              <p:cNvSpPr>
                <a:spLocks noChangeArrowheads="1"/>
              </p:cNvSpPr>
              <p:nvPr/>
            </p:nvSpPr>
            <p:spPr bwMode="auto">
              <a:xfrm>
                <a:off x="5483243" y="2597168"/>
                <a:ext cx="2414587" cy="7938"/>
              </a:xfrm>
              <a:prstGeom prst="rect">
                <a:avLst/>
              </a:prstGeom>
              <a:solidFill>
                <a:srgbClr val="868686"/>
              </a:solidFill>
              <a:ln w="1">
                <a:solidFill>
                  <a:srgbClr val="868686"/>
                </a:solidFill>
                <a:bevel/>
                <a:headEnd/>
                <a:tailEnd/>
              </a:ln>
            </p:spPr>
            <p:txBody>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endParaRPr lang="en-US" altLang="en-US" dirty="0"/>
              </a:p>
            </p:txBody>
          </p:sp>
          <p:sp>
            <p:nvSpPr>
              <p:cNvPr id="689" name="Freeform 476">
                <a:extLst>
                  <a:ext uri="{FF2B5EF4-FFF2-40B4-BE49-F238E27FC236}">
                    <a16:creationId xmlns:a16="http://schemas.microsoft.com/office/drawing/2014/main" id="{450547CC-5C1F-799E-8C0C-93194E1E9899}"/>
                  </a:ext>
                </a:extLst>
              </p:cNvPr>
              <p:cNvSpPr>
                <a:spLocks noEditPoints="1"/>
              </p:cNvSpPr>
              <p:nvPr/>
            </p:nvSpPr>
            <p:spPr bwMode="auto">
              <a:xfrm>
                <a:off x="5480068" y="2600343"/>
                <a:ext cx="2420937" cy="31750"/>
              </a:xfrm>
              <a:custGeom>
                <a:avLst/>
                <a:gdLst>
                  <a:gd name="T0" fmla="*/ 0 w 1525"/>
                  <a:gd name="T1" fmla="*/ 2147483647 h 20"/>
                  <a:gd name="T2" fmla="*/ 2147483647 w 1525"/>
                  <a:gd name="T3" fmla="*/ 0 h 20"/>
                  <a:gd name="T4" fmla="*/ 2147483647 w 1525"/>
                  <a:gd name="T5" fmla="*/ 0 h 20"/>
                  <a:gd name="T6" fmla="*/ 2147483647 w 1525"/>
                  <a:gd name="T7" fmla="*/ 2147483647 h 20"/>
                  <a:gd name="T8" fmla="*/ 2147483647 w 1525"/>
                  <a:gd name="T9" fmla="*/ 0 h 20"/>
                  <a:gd name="T10" fmla="*/ 2147483647 w 1525"/>
                  <a:gd name="T11" fmla="*/ 2147483647 h 20"/>
                  <a:gd name="T12" fmla="*/ 2147483647 w 1525"/>
                  <a:gd name="T13" fmla="*/ 0 h 20"/>
                  <a:gd name="T14" fmla="*/ 2147483647 w 1525"/>
                  <a:gd name="T15" fmla="*/ 0 h 20"/>
                  <a:gd name="T16" fmla="*/ 2147483647 w 1525"/>
                  <a:gd name="T17" fmla="*/ 2147483647 h 20"/>
                  <a:gd name="T18" fmla="*/ 2147483647 w 1525"/>
                  <a:gd name="T19" fmla="*/ 0 h 20"/>
                  <a:gd name="T20" fmla="*/ 2147483647 w 1525"/>
                  <a:gd name="T21" fmla="*/ 2147483647 h 20"/>
                  <a:gd name="T22" fmla="*/ 2147483647 w 1525"/>
                  <a:gd name="T23" fmla="*/ 0 h 20"/>
                  <a:gd name="T24" fmla="*/ 2147483647 w 1525"/>
                  <a:gd name="T25" fmla="*/ 0 h 20"/>
                  <a:gd name="T26" fmla="*/ 2147483647 w 1525"/>
                  <a:gd name="T27" fmla="*/ 2147483647 h 20"/>
                  <a:gd name="T28" fmla="*/ 2147483647 w 1525"/>
                  <a:gd name="T29" fmla="*/ 0 h 20"/>
                  <a:gd name="T30" fmla="*/ 2147483647 w 1525"/>
                  <a:gd name="T31" fmla="*/ 2147483647 h 20"/>
                  <a:gd name="T32" fmla="*/ 2147483647 w 1525"/>
                  <a:gd name="T33" fmla="*/ 0 h 20"/>
                  <a:gd name="T34" fmla="*/ 2147483647 w 1525"/>
                  <a:gd name="T35" fmla="*/ 0 h 20"/>
                  <a:gd name="T36" fmla="*/ 2147483647 w 1525"/>
                  <a:gd name="T37" fmla="*/ 2147483647 h 20"/>
                  <a:gd name="T38" fmla="*/ 2147483647 w 1525"/>
                  <a:gd name="T39" fmla="*/ 0 h 20"/>
                  <a:gd name="T40" fmla="*/ 2147483647 w 1525"/>
                  <a:gd name="T41" fmla="*/ 2147483647 h 20"/>
                  <a:gd name="T42" fmla="*/ 2147483647 w 1525"/>
                  <a:gd name="T43" fmla="*/ 0 h 20"/>
                  <a:gd name="T44" fmla="*/ 2147483647 w 1525"/>
                  <a:gd name="T45" fmla="*/ 0 h 20"/>
                  <a:gd name="T46" fmla="*/ 2147483647 w 1525"/>
                  <a:gd name="T47" fmla="*/ 2147483647 h 20"/>
                  <a:gd name="T48" fmla="*/ 2147483647 w 1525"/>
                  <a:gd name="T49" fmla="*/ 0 h 20"/>
                  <a:gd name="T50" fmla="*/ 2147483647 w 1525"/>
                  <a:gd name="T51" fmla="*/ 2147483647 h 20"/>
                  <a:gd name="T52" fmla="*/ 2147483647 w 1525"/>
                  <a:gd name="T53" fmla="*/ 0 h 20"/>
                  <a:gd name="T54" fmla="*/ 2147483647 w 1525"/>
                  <a:gd name="T55" fmla="*/ 0 h 20"/>
                  <a:gd name="T56" fmla="*/ 2147483647 w 1525"/>
                  <a:gd name="T57" fmla="*/ 2147483647 h 20"/>
                  <a:gd name="T58" fmla="*/ 2147483647 w 1525"/>
                  <a:gd name="T59" fmla="*/ 0 h 20"/>
                  <a:gd name="T60" fmla="*/ 2147483647 w 1525"/>
                  <a:gd name="T61" fmla="*/ 2147483647 h 20"/>
                  <a:gd name="T62" fmla="*/ 2147483647 w 1525"/>
                  <a:gd name="T63" fmla="*/ 0 h 20"/>
                  <a:gd name="T64" fmla="*/ 2147483647 w 1525"/>
                  <a:gd name="T65" fmla="*/ 0 h 20"/>
                  <a:gd name="T66" fmla="*/ 2147483647 w 1525"/>
                  <a:gd name="T67" fmla="*/ 2147483647 h 20"/>
                  <a:gd name="T68" fmla="*/ 2147483647 w 1525"/>
                  <a:gd name="T69" fmla="*/ 0 h 20"/>
                  <a:gd name="T70" fmla="*/ 2147483647 w 1525"/>
                  <a:gd name="T71" fmla="*/ 2147483647 h 20"/>
                  <a:gd name="T72" fmla="*/ 2147483647 w 1525"/>
                  <a:gd name="T73" fmla="*/ 0 h 20"/>
                  <a:gd name="T74" fmla="*/ 2147483647 w 1525"/>
                  <a:gd name="T75" fmla="*/ 0 h 20"/>
                  <a:gd name="T76" fmla="*/ 2147483647 w 1525"/>
                  <a:gd name="T77" fmla="*/ 2147483647 h 20"/>
                  <a:gd name="T78" fmla="*/ 2147483647 w 1525"/>
                  <a:gd name="T79" fmla="*/ 0 h 20"/>
                  <a:gd name="T80" fmla="*/ 2147483647 w 1525"/>
                  <a:gd name="T81" fmla="*/ 2147483647 h 20"/>
                  <a:gd name="T82" fmla="*/ 2147483647 w 1525"/>
                  <a:gd name="T83" fmla="*/ 0 h 20"/>
                  <a:gd name="T84" fmla="*/ 2147483647 w 1525"/>
                  <a:gd name="T85" fmla="*/ 0 h 20"/>
                  <a:gd name="T86" fmla="*/ 2147483647 w 1525"/>
                  <a:gd name="T87" fmla="*/ 2147483647 h 20"/>
                  <a:gd name="T88" fmla="*/ 2147483647 w 1525"/>
                  <a:gd name="T89" fmla="*/ 0 h 20"/>
                  <a:gd name="T90" fmla="*/ 2147483647 w 1525"/>
                  <a:gd name="T91" fmla="*/ 2147483647 h 20"/>
                  <a:gd name="T92" fmla="*/ 2147483647 w 1525"/>
                  <a:gd name="T93" fmla="*/ 0 h 20"/>
                  <a:gd name="T94" fmla="*/ 2147483647 w 1525"/>
                  <a:gd name="T95" fmla="*/ 0 h 20"/>
                  <a:gd name="T96" fmla="*/ 2147483647 w 1525"/>
                  <a:gd name="T97" fmla="*/ 2147483647 h 20"/>
                  <a:gd name="T98" fmla="*/ 2147483647 w 1525"/>
                  <a:gd name="T99" fmla="*/ 0 h 20"/>
                  <a:gd name="T100" fmla="*/ 2147483647 w 1525"/>
                  <a:gd name="T101" fmla="*/ 2147483647 h 20"/>
                  <a:gd name="T102" fmla="*/ 2147483647 w 1525"/>
                  <a:gd name="T103" fmla="*/ 0 h 20"/>
                  <a:gd name="T104" fmla="*/ 2147483647 w 1525"/>
                  <a:gd name="T105" fmla="*/ 0 h 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25" h="20">
                    <a:moveTo>
                      <a:pt x="4" y="0"/>
                    </a:moveTo>
                    <a:lnTo>
                      <a:pt x="4" y="20"/>
                    </a:lnTo>
                    <a:lnTo>
                      <a:pt x="0" y="20"/>
                    </a:lnTo>
                    <a:lnTo>
                      <a:pt x="0" y="0"/>
                    </a:lnTo>
                    <a:lnTo>
                      <a:pt x="4" y="0"/>
                    </a:lnTo>
                    <a:close/>
                    <a:moveTo>
                      <a:pt x="54" y="0"/>
                    </a:moveTo>
                    <a:lnTo>
                      <a:pt x="54" y="20"/>
                    </a:lnTo>
                    <a:lnTo>
                      <a:pt x="49" y="20"/>
                    </a:lnTo>
                    <a:lnTo>
                      <a:pt x="49" y="0"/>
                    </a:lnTo>
                    <a:lnTo>
                      <a:pt x="54" y="0"/>
                    </a:lnTo>
                    <a:close/>
                    <a:moveTo>
                      <a:pt x="103" y="0"/>
                    </a:moveTo>
                    <a:lnTo>
                      <a:pt x="103" y="20"/>
                    </a:lnTo>
                    <a:lnTo>
                      <a:pt x="99" y="20"/>
                    </a:lnTo>
                    <a:lnTo>
                      <a:pt x="99" y="0"/>
                    </a:lnTo>
                    <a:lnTo>
                      <a:pt x="103" y="0"/>
                    </a:lnTo>
                    <a:close/>
                    <a:moveTo>
                      <a:pt x="151" y="0"/>
                    </a:moveTo>
                    <a:lnTo>
                      <a:pt x="151" y="20"/>
                    </a:lnTo>
                    <a:lnTo>
                      <a:pt x="147" y="20"/>
                    </a:lnTo>
                    <a:lnTo>
                      <a:pt x="147" y="0"/>
                    </a:lnTo>
                    <a:lnTo>
                      <a:pt x="151" y="0"/>
                    </a:lnTo>
                    <a:close/>
                    <a:moveTo>
                      <a:pt x="201" y="0"/>
                    </a:moveTo>
                    <a:lnTo>
                      <a:pt x="201" y="20"/>
                    </a:lnTo>
                    <a:lnTo>
                      <a:pt x="196" y="20"/>
                    </a:lnTo>
                    <a:lnTo>
                      <a:pt x="196" y="0"/>
                    </a:lnTo>
                    <a:lnTo>
                      <a:pt x="201" y="0"/>
                    </a:lnTo>
                    <a:close/>
                    <a:moveTo>
                      <a:pt x="250" y="0"/>
                    </a:moveTo>
                    <a:lnTo>
                      <a:pt x="250" y="20"/>
                    </a:lnTo>
                    <a:lnTo>
                      <a:pt x="245" y="20"/>
                    </a:lnTo>
                    <a:lnTo>
                      <a:pt x="245" y="0"/>
                    </a:lnTo>
                    <a:lnTo>
                      <a:pt x="250" y="0"/>
                    </a:lnTo>
                    <a:close/>
                    <a:moveTo>
                      <a:pt x="299" y="0"/>
                    </a:moveTo>
                    <a:lnTo>
                      <a:pt x="299" y="20"/>
                    </a:lnTo>
                    <a:lnTo>
                      <a:pt x="295" y="20"/>
                    </a:lnTo>
                    <a:lnTo>
                      <a:pt x="295" y="0"/>
                    </a:lnTo>
                    <a:lnTo>
                      <a:pt x="299" y="0"/>
                    </a:lnTo>
                    <a:close/>
                    <a:moveTo>
                      <a:pt x="347" y="0"/>
                    </a:moveTo>
                    <a:lnTo>
                      <a:pt x="347" y="20"/>
                    </a:lnTo>
                    <a:lnTo>
                      <a:pt x="343" y="20"/>
                    </a:lnTo>
                    <a:lnTo>
                      <a:pt x="343" y="0"/>
                    </a:lnTo>
                    <a:lnTo>
                      <a:pt x="347" y="0"/>
                    </a:lnTo>
                    <a:close/>
                    <a:moveTo>
                      <a:pt x="397" y="0"/>
                    </a:moveTo>
                    <a:lnTo>
                      <a:pt x="397" y="20"/>
                    </a:lnTo>
                    <a:lnTo>
                      <a:pt x="392" y="20"/>
                    </a:lnTo>
                    <a:lnTo>
                      <a:pt x="392" y="0"/>
                    </a:lnTo>
                    <a:lnTo>
                      <a:pt x="397" y="0"/>
                    </a:lnTo>
                    <a:close/>
                    <a:moveTo>
                      <a:pt x="446" y="0"/>
                    </a:moveTo>
                    <a:lnTo>
                      <a:pt x="446" y="20"/>
                    </a:lnTo>
                    <a:lnTo>
                      <a:pt x="442" y="20"/>
                    </a:lnTo>
                    <a:lnTo>
                      <a:pt x="442" y="0"/>
                    </a:lnTo>
                    <a:lnTo>
                      <a:pt x="446" y="0"/>
                    </a:lnTo>
                    <a:close/>
                    <a:moveTo>
                      <a:pt x="495" y="0"/>
                    </a:moveTo>
                    <a:lnTo>
                      <a:pt x="495" y="20"/>
                    </a:lnTo>
                    <a:lnTo>
                      <a:pt x="491" y="20"/>
                    </a:lnTo>
                    <a:lnTo>
                      <a:pt x="491" y="0"/>
                    </a:lnTo>
                    <a:lnTo>
                      <a:pt x="495" y="0"/>
                    </a:lnTo>
                    <a:close/>
                    <a:moveTo>
                      <a:pt x="544" y="0"/>
                    </a:moveTo>
                    <a:lnTo>
                      <a:pt x="544" y="20"/>
                    </a:lnTo>
                    <a:lnTo>
                      <a:pt x="539" y="20"/>
                    </a:lnTo>
                    <a:lnTo>
                      <a:pt x="539" y="0"/>
                    </a:lnTo>
                    <a:lnTo>
                      <a:pt x="544" y="0"/>
                    </a:lnTo>
                    <a:close/>
                    <a:moveTo>
                      <a:pt x="593" y="0"/>
                    </a:moveTo>
                    <a:lnTo>
                      <a:pt x="593" y="20"/>
                    </a:lnTo>
                    <a:lnTo>
                      <a:pt x="589" y="20"/>
                    </a:lnTo>
                    <a:lnTo>
                      <a:pt x="589" y="0"/>
                    </a:lnTo>
                    <a:lnTo>
                      <a:pt x="593" y="0"/>
                    </a:lnTo>
                    <a:close/>
                    <a:moveTo>
                      <a:pt x="642" y="0"/>
                    </a:moveTo>
                    <a:lnTo>
                      <a:pt x="642" y="20"/>
                    </a:lnTo>
                    <a:lnTo>
                      <a:pt x="638" y="20"/>
                    </a:lnTo>
                    <a:lnTo>
                      <a:pt x="638" y="0"/>
                    </a:lnTo>
                    <a:lnTo>
                      <a:pt x="642" y="0"/>
                    </a:lnTo>
                    <a:close/>
                    <a:moveTo>
                      <a:pt x="691" y="0"/>
                    </a:moveTo>
                    <a:lnTo>
                      <a:pt x="691" y="20"/>
                    </a:lnTo>
                    <a:lnTo>
                      <a:pt x="687" y="20"/>
                    </a:lnTo>
                    <a:lnTo>
                      <a:pt x="687" y="0"/>
                    </a:lnTo>
                    <a:lnTo>
                      <a:pt x="691" y="0"/>
                    </a:lnTo>
                    <a:close/>
                    <a:moveTo>
                      <a:pt x="740" y="0"/>
                    </a:moveTo>
                    <a:lnTo>
                      <a:pt x="740" y="20"/>
                    </a:lnTo>
                    <a:lnTo>
                      <a:pt x="736" y="20"/>
                    </a:lnTo>
                    <a:lnTo>
                      <a:pt x="736" y="0"/>
                    </a:lnTo>
                    <a:lnTo>
                      <a:pt x="740" y="0"/>
                    </a:lnTo>
                    <a:close/>
                    <a:moveTo>
                      <a:pt x="789" y="0"/>
                    </a:moveTo>
                    <a:lnTo>
                      <a:pt x="789" y="20"/>
                    </a:lnTo>
                    <a:lnTo>
                      <a:pt x="785" y="20"/>
                    </a:lnTo>
                    <a:lnTo>
                      <a:pt x="785" y="0"/>
                    </a:lnTo>
                    <a:lnTo>
                      <a:pt x="789" y="0"/>
                    </a:lnTo>
                    <a:close/>
                    <a:moveTo>
                      <a:pt x="838" y="0"/>
                    </a:moveTo>
                    <a:lnTo>
                      <a:pt x="838" y="20"/>
                    </a:lnTo>
                    <a:lnTo>
                      <a:pt x="834" y="20"/>
                    </a:lnTo>
                    <a:lnTo>
                      <a:pt x="834" y="0"/>
                    </a:lnTo>
                    <a:lnTo>
                      <a:pt x="838" y="0"/>
                    </a:lnTo>
                    <a:close/>
                    <a:moveTo>
                      <a:pt x="887" y="0"/>
                    </a:moveTo>
                    <a:lnTo>
                      <a:pt x="887" y="20"/>
                    </a:lnTo>
                    <a:lnTo>
                      <a:pt x="883" y="20"/>
                    </a:lnTo>
                    <a:lnTo>
                      <a:pt x="883" y="0"/>
                    </a:lnTo>
                    <a:lnTo>
                      <a:pt x="887" y="0"/>
                    </a:lnTo>
                    <a:close/>
                    <a:moveTo>
                      <a:pt x="937" y="0"/>
                    </a:moveTo>
                    <a:lnTo>
                      <a:pt x="937" y="20"/>
                    </a:lnTo>
                    <a:lnTo>
                      <a:pt x="932" y="20"/>
                    </a:lnTo>
                    <a:lnTo>
                      <a:pt x="932" y="0"/>
                    </a:lnTo>
                    <a:lnTo>
                      <a:pt x="937" y="0"/>
                    </a:lnTo>
                    <a:close/>
                    <a:moveTo>
                      <a:pt x="985" y="0"/>
                    </a:moveTo>
                    <a:lnTo>
                      <a:pt x="985" y="20"/>
                    </a:lnTo>
                    <a:lnTo>
                      <a:pt x="981" y="20"/>
                    </a:lnTo>
                    <a:lnTo>
                      <a:pt x="981" y="0"/>
                    </a:lnTo>
                    <a:lnTo>
                      <a:pt x="985" y="0"/>
                    </a:lnTo>
                    <a:close/>
                    <a:moveTo>
                      <a:pt x="1034" y="0"/>
                    </a:moveTo>
                    <a:lnTo>
                      <a:pt x="1034" y="20"/>
                    </a:lnTo>
                    <a:lnTo>
                      <a:pt x="1030" y="20"/>
                    </a:lnTo>
                    <a:lnTo>
                      <a:pt x="1030" y="0"/>
                    </a:lnTo>
                    <a:lnTo>
                      <a:pt x="1034" y="0"/>
                    </a:lnTo>
                    <a:close/>
                    <a:moveTo>
                      <a:pt x="1084" y="0"/>
                    </a:moveTo>
                    <a:lnTo>
                      <a:pt x="1084" y="20"/>
                    </a:lnTo>
                    <a:lnTo>
                      <a:pt x="1079" y="20"/>
                    </a:lnTo>
                    <a:lnTo>
                      <a:pt x="1079" y="0"/>
                    </a:lnTo>
                    <a:lnTo>
                      <a:pt x="1084" y="0"/>
                    </a:lnTo>
                    <a:close/>
                    <a:moveTo>
                      <a:pt x="1133" y="0"/>
                    </a:moveTo>
                    <a:lnTo>
                      <a:pt x="1133" y="20"/>
                    </a:lnTo>
                    <a:lnTo>
                      <a:pt x="1128" y="20"/>
                    </a:lnTo>
                    <a:lnTo>
                      <a:pt x="1128" y="0"/>
                    </a:lnTo>
                    <a:lnTo>
                      <a:pt x="1133" y="0"/>
                    </a:lnTo>
                    <a:close/>
                    <a:moveTo>
                      <a:pt x="1181" y="0"/>
                    </a:moveTo>
                    <a:lnTo>
                      <a:pt x="1181" y="20"/>
                    </a:lnTo>
                    <a:lnTo>
                      <a:pt x="1177" y="20"/>
                    </a:lnTo>
                    <a:lnTo>
                      <a:pt x="1177" y="0"/>
                    </a:lnTo>
                    <a:lnTo>
                      <a:pt x="1181" y="0"/>
                    </a:lnTo>
                    <a:close/>
                    <a:moveTo>
                      <a:pt x="1230" y="0"/>
                    </a:moveTo>
                    <a:lnTo>
                      <a:pt x="1230" y="20"/>
                    </a:lnTo>
                    <a:lnTo>
                      <a:pt x="1226" y="20"/>
                    </a:lnTo>
                    <a:lnTo>
                      <a:pt x="1226" y="0"/>
                    </a:lnTo>
                    <a:lnTo>
                      <a:pt x="1230" y="0"/>
                    </a:lnTo>
                    <a:close/>
                    <a:moveTo>
                      <a:pt x="1280" y="0"/>
                    </a:moveTo>
                    <a:lnTo>
                      <a:pt x="1280" y="20"/>
                    </a:lnTo>
                    <a:lnTo>
                      <a:pt x="1275" y="20"/>
                    </a:lnTo>
                    <a:lnTo>
                      <a:pt x="1275" y="0"/>
                    </a:lnTo>
                    <a:lnTo>
                      <a:pt x="1280" y="0"/>
                    </a:lnTo>
                    <a:close/>
                    <a:moveTo>
                      <a:pt x="1329" y="0"/>
                    </a:moveTo>
                    <a:lnTo>
                      <a:pt x="1329" y="20"/>
                    </a:lnTo>
                    <a:lnTo>
                      <a:pt x="1325" y="20"/>
                    </a:lnTo>
                    <a:lnTo>
                      <a:pt x="1325" y="0"/>
                    </a:lnTo>
                    <a:lnTo>
                      <a:pt x="1329" y="0"/>
                    </a:lnTo>
                    <a:close/>
                    <a:moveTo>
                      <a:pt x="1378" y="0"/>
                    </a:moveTo>
                    <a:lnTo>
                      <a:pt x="1378" y="20"/>
                    </a:lnTo>
                    <a:lnTo>
                      <a:pt x="1374" y="20"/>
                    </a:lnTo>
                    <a:lnTo>
                      <a:pt x="1374" y="0"/>
                    </a:lnTo>
                    <a:lnTo>
                      <a:pt x="1378" y="0"/>
                    </a:lnTo>
                    <a:close/>
                    <a:moveTo>
                      <a:pt x="1427" y="0"/>
                    </a:moveTo>
                    <a:lnTo>
                      <a:pt x="1427" y="20"/>
                    </a:lnTo>
                    <a:lnTo>
                      <a:pt x="1422" y="20"/>
                    </a:lnTo>
                    <a:lnTo>
                      <a:pt x="1422" y="0"/>
                    </a:lnTo>
                    <a:lnTo>
                      <a:pt x="1427" y="0"/>
                    </a:lnTo>
                    <a:close/>
                    <a:moveTo>
                      <a:pt x="1476" y="0"/>
                    </a:moveTo>
                    <a:lnTo>
                      <a:pt x="1476" y="20"/>
                    </a:lnTo>
                    <a:lnTo>
                      <a:pt x="1471" y="20"/>
                    </a:lnTo>
                    <a:lnTo>
                      <a:pt x="1471" y="0"/>
                    </a:lnTo>
                    <a:lnTo>
                      <a:pt x="1476" y="0"/>
                    </a:lnTo>
                    <a:close/>
                    <a:moveTo>
                      <a:pt x="1525" y="0"/>
                    </a:moveTo>
                    <a:lnTo>
                      <a:pt x="1525" y="20"/>
                    </a:lnTo>
                    <a:lnTo>
                      <a:pt x="1521" y="20"/>
                    </a:lnTo>
                    <a:lnTo>
                      <a:pt x="1521" y="0"/>
                    </a:lnTo>
                    <a:lnTo>
                      <a:pt x="1525" y="0"/>
                    </a:lnTo>
                    <a:close/>
                  </a:path>
                </a:pathLst>
              </a:custGeom>
              <a:solidFill>
                <a:srgbClr val="868686"/>
              </a:solidFill>
              <a:ln w="1" cap="flat">
                <a:solidFill>
                  <a:srgbClr val="868686"/>
                </a:solidFill>
                <a:prstDash val="solid"/>
                <a:bevel/>
                <a:headEnd/>
                <a:tailEnd/>
              </a:ln>
            </p:spPr>
            <p:txBody>
              <a:bodyPr/>
              <a:lstStyle/>
              <a:p>
                <a:endParaRPr lang="en-US" dirty="0"/>
              </a:p>
            </p:txBody>
          </p:sp>
          <p:sp>
            <p:nvSpPr>
              <p:cNvPr id="690" name="Freeform 477">
                <a:extLst>
                  <a:ext uri="{FF2B5EF4-FFF2-40B4-BE49-F238E27FC236}">
                    <a16:creationId xmlns:a16="http://schemas.microsoft.com/office/drawing/2014/main" id="{FF640AFD-5B1B-6637-ED94-76EE3DCBC399}"/>
                  </a:ext>
                </a:extLst>
              </p:cNvPr>
              <p:cNvSpPr>
                <a:spLocks/>
              </p:cNvSpPr>
              <p:nvPr/>
            </p:nvSpPr>
            <p:spPr bwMode="auto">
              <a:xfrm>
                <a:off x="5511818" y="1982806"/>
                <a:ext cx="2359025" cy="598487"/>
              </a:xfrm>
              <a:custGeom>
                <a:avLst/>
                <a:gdLst>
                  <a:gd name="T0" fmla="*/ 2147483647 w 8333"/>
                  <a:gd name="T1" fmla="*/ 2147483647 h 2121"/>
                  <a:gd name="T2" fmla="*/ 2147483647 w 8333"/>
                  <a:gd name="T3" fmla="*/ 2147483647 h 2121"/>
                  <a:gd name="T4" fmla="*/ 2147483647 w 8333"/>
                  <a:gd name="T5" fmla="*/ 2147483647 h 2121"/>
                  <a:gd name="T6" fmla="*/ 2147483647 w 8333"/>
                  <a:gd name="T7" fmla="*/ 2147483647 h 2121"/>
                  <a:gd name="T8" fmla="*/ 2147483647 w 8333"/>
                  <a:gd name="T9" fmla="*/ 2147483647 h 2121"/>
                  <a:gd name="T10" fmla="*/ 2147483647 w 8333"/>
                  <a:gd name="T11" fmla="*/ 2147483647 h 2121"/>
                  <a:gd name="T12" fmla="*/ 2147483647 w 8333"/>
                  <a:gd name="T13" fmla="*/ 2147483647 h 2121"/>
                  <a:gd name="T14" fmla="*/ 2147483647 w 8333"/>
                  <a:gd name="T15" fmla="*/ 2147483647 h 2121"/>
                  <a:gd name="T16" fmla="*/ 2147483647 w 8333"/>
                  <a:gd name="T17" fmla="*/ 2147483647 h 2121"/>
                  <a:gd name="T18" fmla="*/ 2147483647 w 8333"/>
                  <a:gd name="T19" fmla="*/ 2147483647 h 2121"/>
                  <a:gd name="T20" fmla="*/ 2147483647 w 8333"/>
                  <a:gd name="T21" fmla="*/ 2147483647 h 2121"/>
                  <a:gd name="T22" fmla="*/ 2147483647 w 8333"/>
                  <a:gd name="T23" fmla="*/ 2147483647 h 2121"/>
                  <a:gd name="T24" fmla="*/ 2147483647 w 8333"/>
                  <a:gd name="T25" fmla="*/ 2147483647 h 2121"/>
                  <a:gd name="T26" fmla="*/ 2147483647 w 8333"/>
                  <a:gd name="T27" fmla="*/ 2147483647 h 2121"/>
                  <a:gd name="T28" fmla="*/ 2147483647 w 8333"/>
                  <a:gd name="T29" fmla="*/ 2147483647 h 2121"/>
                  <a:gd name="T30" fmla="*/ 2147483647 w 8333"/>
                  <a:gd name="T31" fmla="*/ 2147483647 h 2121"/>
                  <a:gd name="T32" fmla="*/ 2147483647 w 8333"/>
                  <a:gd name="T33" fmla="*/ 2147483647 h 2121"/>
                  <a:gd name="T34" fmla="*/ 2147483647 w 8333"/>
                  <a:gd name="T35" fmla="*/ 2147483647 h 2121"/>
                  <a:gd name="T36" fmla="*/ 2147483647 w 8333"/>
                  <a:gd name="T37" fmla="*/ 2147483647 h 2121"/>
                  <a:gd name="T38" fmla="*/ 2147483647 w 8333"/>
                  <a:gd name="T39" fmla="*/ 2147483647 h 2121"/>
                  <a:gd name="T40" fmla="*/ 2147483647 w 8333"/>
                  <a:gd name="T41" fmla="*/ 2147483647 h 2121"/>
                  <a:gd name="T42" fmla="*/ 2147483647 w 8333"/>
                  <a:gd name="T43" fmla="*/ 2147483647 h 2121"/>
                  <a:gd name="T44" fmla="*/ 2147483647 w 8333"/>
                  <a:gd name="T45" fmla="*/ 2147483647 h 2121"/>
                  <a:gd name="T46" fmla="*/ 2147483647 w 8333"/>
                  <a:gd name="T47" fmla="*/ 2147483647 h 2121"/>
                  <a:gd name="T48" fmla="*/ 2147483647 w 8333"/>
                  <a:gd name="T49" fmla="*/ 2147483647 h 2121"/>
                  <a:gd name="T50" fmla="*/ 2147483647 w 8333"/>
                  <a:gd name="T51" fmla="*/ 2147483647 h 2121"/>
                  <a:gd name="T52" fmla="*/ 2147483647 w 8333"/>
                  <a:gd name="T53" fmla="*/ 2147483647 h 2121"/>
                  <a:gd name="T54" fmla="*/ 2147483647 w 8333"/>
                  <a:gd name="T55" fmla="*/ 2147483647 h 2121"/>
                  <a:gd name="T56" fmla="*/ 2147483647 w 8333"/>
                  <a:gd name="T57" fmla="*/ 2147483647 h 2121"/>
                  <a:gd name="T58" fmla="*/ 2147483647 w 8333"/>
                  <a:gd name="T59" fmla="*/ 2147483647 h 2121"/>
                  <a:gd name="T60" fmla="*/ 2147483647 w 8333"/>
                  <a:gd name="T61" fmla="*/ 2147483647 h 2121"/>
                  <a:gd name="T62" fmla="*/ 2147483647 w 8333"/>
                  <a:gd name="T63" fmla="*/ 2147483647 h 212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333" h="2121">
                    <a:moveTo>
                      <a:pt x="35" y="2049"/>
                    </a:moveTo>
                    <a:lnTo>
                      <a:pt x="311" y="2037"/>
                    </a:lnTo>
                    <a:lnTo>
                      <a:pt x="587" y="2025"/>
                    </a:lnTo>
                    <a:lnTo>
                      <a:pt x="862" y="2009"/>
                    </a:lnTo>
                    <a:lnTo>
                      <a:pt x="1134" y="1993"/>
                    </a:lnTo>
                    <a:lnTo>
                      <a:pt x="1410" y="1977"/>
                    </a:lnTo>
                    <a:lnTo>
                      <a:pt x="1686" y="1961"/>
                    </a:lnTo>
                    <a:lnTo>
                      <a:pt x="1961" y="1937"/>
                    </a:lnTo>
                    <a:lnTo>
                      <a:pt x="2238" y="1917"/>
                    </a:lnTo>
                    <a:lnTo>
                      <a:pt x="2509" y="1893"/>
                    </a:lnTo>
                    <a:lnTo>
                      <a:pt x="2785" y="1865"/>
                    </a:lnTo>
                    <a:lnTo>
                      <a:pt x="3060" y="1833"/>
                    </a:lnTo>
                    <a:lnTo>
                      <a:pt x="3336" y="1801"/>
                    </a:lnTo>
                    <a:lnTo>
                      <a:pt x="3607" y="1761"/>
                    </a:lnTo>
                    <a:lnTo>
                      <a:pt x="3883" y="1721"/>
                    </a:lnTo>
                    <a:lnTo>
                      <a:pt x="4158" y="1673"/>
                    </a:lnTo>
                    <a:lnTo>
                      <a:pt x="4434" y="1625"/>
                    </a:lnTo>
                    <a:lnTo>
                      <a:pt x="4705" y="1569"/>
                    </a:lnTo>
                    <a:lnTo>
                      <a:pt x="4981" y="1509"/>
                    </a:lnTo>
                    <a:lnTo>
                      <a:pt x="5256" y="1442"/>
                    </a:lnTo>
                    <a:lnTo>
                      <a:pt x="5531" y="1366"/>
                    </a:lnTo>
                    <a:lnTo>
                      <a:pt x="5806" y="1282"/>
                    </a:lnTo>
                    <a:lnTo>
                      <a:pt x="6077" y="1190"/>
                    </a:lnTo>
                    <a:lnTo>
                      <a:pt x="6352" y="1091"/>
                    </a:lnTo>
                    <a:lnTo>
                      <a:pt x="6627" y="979"/>
                    </a:lnTo>
                    <a:lnTo>
                      <a:pt x="6901" y="852"/>
                    </a:lnTo>
                    <a:lnTo>
                      <a:pt x="7172" y="716"/>
                    </a:lnTo>
                    <a:lnTo>
                      <a:pt x="7447" y="565"/>
                    </a:lnTo>
                    <a:lnTo>
                      <a:pt x="7722" y="398"/>
                    </a:lnTo>
                    <a:lnTo>
                      <a:pt x="7996" y="215"/>
                    </a:lnTo>
                    <a:lnTo>
                      <a:pt x="8271" y="12"/>
                    </a:lnTo>
                    <a:cubicBezTo>
                      <a:pt x="8287" y="0"/>
                      <a:pt x="8310" y="3"/>
                      <a:pt x="8321" y="19"/>
                    </a:cubicBezTo>
                    <a:cubicBezTo>
                      <a:pt x="8333" y="35"/>
                      <a:pt x="8330" y="58"/>
                      <a:pt x="8314" y="69"/>
                    </a:cubicBezTo>
                    <a:lnTo>
                      <a:pt x="8036" y="274"/>
                    </a:lnTo>
                    <a:lnTo>
                      <a:pt x="7759" y="459"/>
                    </a:lnTo>
                    <a:lnTo>
                      <a:pt x="7482" y="628"/>
                    </a:lnTo>
                    <a:lnTo>
                      <a:pt x="7205" y="781"/>
                    </a:lnTo>
                    <a:lnTo>
                      <a:pt x="6932" y="917"/>
                    </a:lnTo>
                    <a:lnTo>
                      <a:pt x="6654" y="1046"/>
                    </a:lnTo>
                    <a:lnTo>
                      <a:pt x="6377" y="1158"/>
                    </a:lnTo>
                    <a:lnTo>
                      <a:pt x="6100" y="1259"/>
                    </a:lnTo>
                    <a:lnTo>
                      <a:pt x="5827" y="1351"/>
                    </a:lnTo>
                    <a:lnTo>
                      <a:pt x="5550" y="1435"/>
                    </a:lnTo>
                    <a:lnTo>
                      <a:pt x="5273" y="1511"/>
                    </a:lnTo>
                    <a:lnTo>
                      <a:pt x="4996" y="1580"/>
                    </a:lnTo>
                    <a:lnTo>
                      <a:pt x="4720" y="1640"/>
                    </a:lnTo>
                    <a:lnTo>
                      <a:pt x="4447" y="1696"/>
                    </a:lnTo>
                    <a:lnTo>
                      <a:pt x="4171" y="1744"/>
                    </a:lnTo>
                    <a:lnTo>
                      <a:pt x="3894" y="1792"/>
                    </a:lnTo>
                    <a:lnTo>
                      <a:pt x="3618" y="1832"/>
                    </a:lnTo>
                    <a:lnTo>
                      <a:pt x="3345" y="1872"/>
                    </a:lnTo>
                    <a:lnTo>
                      <a:pt x="3069" y="1904"/>
                    </a:lnTo>
                    <a:lnTo>
                      <a:pt x="2792" y="1936"/>
                    </a:lnTo>
                    <a:lnTo>
                      <a:pt x="2516" y="1964"/>
                    </a:lnTo>
                    <a:lnTo>
                      <a:pt x="2243" y="1988"/>
                    </a:lnTo>
                    <a:lnTo>
                      <a:pt x="1968" y="2008"/>
                    </a:lnTo>
                    <a:lnTo>
                      <a:pt x="1691" y="2032"/>
                    </a:lnTo>
                    <a:lnTo>
                      <a:pt x="1415" y="2048"/>
                    </a:lnTo>
                    <a:lnTo>
                      <a:pt x="1139" y="2064"/>
                    </a:lnTo>
                    <a:lnTo>
                      <a:pt x="867" y="2080"/>
                    </a:lnTo>
                    <a:lnTo>
                      <a:pt x="590" y="2096"/>
                    </a:lnTo>
                    <a:lnTo>
                      <a:pt x="314" y="2108"/>
                    </a:lnTo>
                    <a:lnTo>
                      <a:pt x="38" y="2120"/>
                    </a:lnTo>
                    <a:cubicBezTo>
                      <a:pt x="18" y="2121"/>
                      <a:pt x="1" y="2106"/>
                      <a:pt x="1" y="2086"/>
                    </a:cubicBezTo>
                    <a:cubicBezTo>
                      <a:pt x="0" y="2066"/>
                      <a:pt x="15" y="2049"/>
                      <a:pt x="35" y="2049"/>
                    </a:cubicBezTo>
                    <a:close/>
                  </a:path>
                </a:pathLst>
              </a:custGeom>
              <a:solidFill>
                <a:srgbClr val="4A7EBB"/>
              </a:solidFill>
              <a:ln w="1" cap="flat">
                <a:solidFill>
                  <a:srgbClr val="4A7EBB"/>
                </a:solidFill>
                <a:prstDash val="solid"/>
                <a:bevel/>
                <a:headEnd/>
                <a:tailEnd/>
              </a:ln>
            </p:spPr>
            <p:txBody>
              <a:bodyPr/>
              <a:lstStyle/>
              <a:p>
                <a:endParaRPr lang="en-US" dirty="0"/>
              </a:p>
            </p:txBody>
          </p:sp>
          <p:sp>
            <p:nvSpPr>
              <p:cNvPr id="691" name="Freeform 478">
                <a:extLst>
                  <a:ext uri="{FF2B5EF4-FFF2-40B4-BE49-F238E27FC236}">
                    <a16:creationId xmlns:a16="http://schemas.microsoft.com/office/drawing/2014/main" id="{11E4DBD3-8C4C-AC83-CBCA-1579F85D3151}"/>
                  </a:ext>
                </a:extLst>
              </p:cNvPr>
              <p:cNvSpPr>
                <a:spLocks/>
              </p:cNvSpPr>
              <p:nvPr/>
            </p:nvSpPr>
            <p:spPr bwMode="auto">
              <a:xfrm>
                <a:off x="5489593" y="2538431"/>
                <a:ext cx="65087"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92" name="Freeform 479">
                <a:extLst>
                  <a:ext uri="{FF2B5EF4-FFF2-40B4-BE49-F238E27FC236}">
                    <a16:creationId xmlns:a16="http://schemas.microsoft.com/office/drawing/2014/main" id="{8FA55F4A-33FE-D997-78F0-73346B439CD7}"/>
                  </a:ext>
                </a:extLst>
              </p:cNvPr>
              <p:cNvSpPr>
                <a:spLocks noEditPoints="1"/>
              </p:cNvSpPr>
              <p:nvPr/>
            </p:nvSpPr>
            <p:spPr bwMode="auto">
              <a:xfrm>
                <a:off x="5486418" y="253366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93" name="Freeform 480">
                <a:extLst>
                  <a:ext uri="{FF2B5EF4-FFF2-40B4-BE49-F238E27FC236}">
                    <a16:creationId xmlns:a16="http://schemas.microsoft.com/office/drawing/2014/main" id="{F673D5A3-BD44-A8D8-ACC1-6D7D56DFEAD1}"/>
                  </a:ext>
                </a:extLst>
              </p:cNvPr>
              <p:cNvSpPr>
                <a:spLocks/>
              </p:cNvSpPr>
              <p:nvPr/>
            </p:nvSpPr>
            <p:spPr bwMode="auto">
              <a:xfrm>
                <a:off x="5567380" y="253366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94" name="Freeform 481">
                <a:extLst>
                  <a:ext uri="{FF2B5EF4-FFF2-40B4-BE49-F238E27FC236}">
                    <a16:creationId xmlns:a16="http://schemas.microsoft.com/office/drawing/2014/main" id="{9B124726-AC44-C426-A9F9-127E385AC8AA}"/>
                  </a:ext>
                </a:extLst>
              </p:cNvPr>
              <p:cNvSpPr>
                <a:spLocks noEditPoints="1"/>
              </p:cNvSpPr>
              <p:nvPr/>
            </p:nvSpPr>
            <p:spPr bwMode="auto">
              <a:xfrm>
                <a:off x="5564205" y="2530493"/>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95" name="Freeform 482">
                <a:extLst>
                  <a:ext uri="{FF2B5EF4-FFF2-40B4-BE49-F238E27FC236}">
                    <a16:creationId xmlns:a16="http://schemas.microsoft.com/office/drawing/2014/main" id="{3A92F45B-9721-010B-E927-BA9BBF78CFD1}"/>
                  </a:ext>
                </a:extLst>
              </p:cNvPr>
              <p:cNvSpPr>
                <a:spLocks/>
              </p:cNvSpPr>
              <p:nvPr/>
            </p:nvSpPr>
            <p:spPr bwMode="auto">
              <a:xfrm>
                <a:off x="5645168" y="2530493"/>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0" y="0"/>
                    </a:moveTo>
                    <a:lnTo>
                      <a:pt x="41" y="21"/>
                    </a:lnTo>
                    <a:lnTo>
                      <a:pt x="20" y="42"/>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96" name="Freeform 483">
                <a:extLst>
                  <a:ext uri="{FF2B5EF4-FFF2-40B4-BE49-F238E27FC236}">
                    <a16:creationId xmlns:a16="http://schemas.microsoft.com/office/drawing/2014/main" id="{C959F0EC-3975-07B3-A627-048C035CE8CA}"/>
                  </a:ext>
                </a:extLst>
              </p:cNvPr>
              <p:cNvSpPr>
                <a:spLocks noEditPoints="1"/>
              </p:cNvSpPr>
              <p:nvPr/>
            </p:nvSpPr>
            <p:spPr bwMode="auto">
              <a:xfrm>
                <a:off x="5640405" y="252731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97" name="Freeform 484">
                <a:extLst>
                  <a:ext uri="{FF2B5EF4-FFF2-40B4-BE49-F238E27FC236}">
                    <a16:creationId xmlns:a16="http://schemas.microsoft.com/office/drawing/2014/main" id="{B8E96CBE-C20E-3D90-7031-4E7C8EC22BD3}"/>
                  </a:ext>
                </a:extLst>
              </p:cNvPr>
              <p:cNvSpPr>
                <a:spLocks/>
              </p:cNvSpPr>
              <p:nvPr/>
            </p:nvSpPr>
            <p:spPr bwMode="auto">
              <a:xfrm>
                <a:off x="5722955" y="2527318"/>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98" name="Freeform 485">
                <a:extLst>
                  <a:ext uri="{FF2B5EF4-FFF2-40B4-BE49-F238E27FC236}">
                    <a16:creationId xmlns:a16="http://schemas.microsoft.com/office/drawing/2014/main" id="{5E3A2EE0-EE1B-CCDD-FE70-53072095E353}"/>
                  </a:ext>
                </a:extLst>
              </p:cNvPr>
              <p:cNvSpPr>
                <a:spLocks noEditPoints="1"/>
              </p:cNvSpPr>
              <p:nvPr/>
            </p:nvSpPr>
            <p:spPr bwMode="auto">
              <a:xfrm>
                <a:off x="5719780" y="2524143"/>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699" name="Freeform 486">
                <a:extLst>
                  <a:ext uri="{FF2B5EF4-FFF2-40B4-BE49-F238E27FC236}">
                    <a16:creationId xmlns:a16="http://schemas.microsoft.com/office/drawing/2014/main" id="{32610136-5766-3032-68E4-8DAB342452B8}"/>
                  </a:ext>
                </a:extLst>
              </p:cNvPr>
              <p:cNvSpPr>
                <a:spLocks/>
              </p:cNvSpPr>
              <p:nvPr/>
            </p:nvSpPr>
            <p:spPr bwMode="auto">
              <a:xfrm>
                <a:off x="5800743" y="2522556"/>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0" name="Freeform 487">
                <a:extLst>
                  <a:ext uri="{FF2B5EF4-FFF2-40B4-BE49-F238E27FC236}">
                    <a16:creationId xmlns:a16="http://schemas.microsoft.com/office/drawing/2014/main" id="{23EF1289-A90D-9BBE-8CAA-8B46AFE79815}"/>
                  </a:ext>
                </a:extLst>
              </p:cNvPr>
              <p:cNvSpPr>
                <a:spLocks noEditPoints="1"/>
              </p:cNvSpPr>
              <p:nvPr/>
            </p:nvSpPr>
            <p:spPr bwMode="auto">
              <a:xfrm>
                <a:off x="5797568" y="251938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01" name="Freeform 488">
                <a:extLst>
                  <a:ext uri="{FF2B5EF4-FFF2-40B4-BE49-F238E27FC236}">
                    <a16:creationId xmlns:a16="http://schemas.microsoft.com/office/drawing/2014/main" id="{A8572CEB-2988-EC8E-6FA4-14641C7F4614}"/>
                  </a:ext>
                </a:extLst>
              </p:cNvPr>
              <p:cNvSpPr>
                <a:spLocks/>
              </p:cNvSpPr>
              <p:nvPr/>
            </p:nvSpPr>
            <p:spPr bwMode="auto">
              <a:xfrm>
                <a:off x="5878530" y="2517793"/>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2" name="Freeform 489">
                <a:extLst>
                  <a:ext uri="{FF2B5EF4-FFF2-40B4-BE49-F238E27FC236}">
                    <a16:creationId xmlns:a16="http://schemas.microsoft.com/office/drawing/2014/main" id="{0840313A-B8AD-EDAB-9424-D92D795CAC47}"/>
                  </a:ext>
                </a:extLst>
              </p:cNvPr>
              <p:cNvSpPr>
                <a:spLocks noEditPoints="1"/>
              </p:cNvSpPr>
              <p:nvPr/>
            </p:nvSpPr>
            <p:spPr bwMode="auto">
              <a:xfrm>
                <a:off x="5875355" y="251461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03" name="Freeform 490">
                <a:extLst>
                  <a:ext uri="{FF2B5EF4-FFF2-40B4-BE49-F238E27FC236}">
                    <a16:creationId xmlns:a16="http://schemas.microsoft.com/office/drawing/2014/main" id="{A73A4C3C-22B6-3669-BC72-FCBB29859155}"/>
                  </a:ext>
                </a:extLst>
              </p:cNvPr>
              <p:cNvSpPr>
                <a:spLocks/>
              </p:cNvSpPr>
              <p:nvPr/>
            </p:nvSpPr>
            <p:spPr bwMode="auto">
              <a:xfrm>
                <a:off x="5956318" y="2513031"/>
                <a:ext cx="65087"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4" name="Freeform 491">
                <a:extLst>
                  <a:ext uri="{FF2B5EF4-FFF2-40B4-BE49-F238E27FC236}">
                    <a16:creationId xmlns:a16="http://schemas.microsoft.com/office/drawing/2014/main" id="{7F0E5FC1-E507-8A8F-7042-66830D943D4E}"/>
                  </a:ext>
                </a:extLst>
              </p:cNvPr>
              <p:cNvSpPr>
                <a:spLocks noEditPoints="1"/>
              </p:cNvSpPr>
              <p:nvPr/>
            </p:nvSpPr>
            <p:spPr bwMode="auto">
              <a:xfrm>
                <a:off x="5953143" y="2509856"/>
                <a:ext cx="71437"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05" name="Freeform 492">
                <a:extLst>
                  <a:ext uri="{FF2B5EF4-FFF2-40B4-BE49-F238E27FC236}">
                    <a16:creationId xmlns:a16="http://schemas.microsoft.com/office/drawing/2014/main" id="{3B2C369D-1B09-CC77-998B-9977FDADF31A}"/>
                  </a:ext>
                </a:extLst>
              </p:cNvPr>
              <p:cNvSpPr>
                <a:spLocks/>
              </p:cNvSpPr>
              <p:nvPr/>
            </p:nvSpPr>
            <p:spPr bwMode="auto">
              <a:xfrm>
                <a:off x="6034105" y="2506681"/>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6" name="Freeform 493">
                <a:extLst>
                  <a:ext uri="{FF2B5EF4-FFF2-40B4-BE49-F238E27FC236}">
                    <a16:creationId xmlns:a16="http://schemas.microsoft.com/office/drawing/2014/main" id="{D4613152-7137-E88D-0942-90942F5D5052}"/>
                  </a:ext>
                </a:extLst>
              </p:cNvPr>
              <p:cNvSpPr>
                <a:spLocks noEditPoints="1"/>
              </p:cNvSpPr>
              <p:nvPr/>
            </p:nvSpPr>
            <p:spPr bwMode="auto">
              <a:xfrm>
                <a:off x="6030930" y="250350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07" name="Freeform 494">
                <a:extLst>
                  <a:ext uri="{FF2B5EF4-FFF2-40B4-BE49-F238E27FC236}">
                    <a16:creationId xmlns:a16="http://schemas.microsoft.com/office/drawing/2014/main" id="{1DCCC1A4-8406-661D-3282-2DB5D3D77230}"/>
                  </a:ext>
                </a:extLst>
              </p:cNvPr>
              <p:cNvSpPr>
                <a:spLocks/>
              </p:cNvSpPr>
              <p:nvPr/>
            </p:nvSpPr>
            <p:spPr bwMode="auto">
              <a:xfrm>
                <a:off x="6111893" y="2500331"/>
                <a:ext cx="65087"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8" name="Freeform 495">
                <a:extLst>
                  <a:ext uri="{FF2B5EF4-FFF2-40B4-BE49-F238E27FC236}">
                    <a16:creationId xmlns:a16="http://schemas.microsoft.com/office/drawing/2014/main" id="{C8BBC725-0043-4B31-AC60-904D9A766191}"/>
                  </a:ext>
                </a:extLst>
              </p:cNvPr>
              <p:cNvSpPr>
                <a:spLocks noEditPoints="1"/>
              </p:cNvSpPr>
              <p:nvPr/>
            </p:nvSpPr>
            <p:spPr bwMode="auto">
              <a:xfrm>
                <a:off x="6108718" y="249715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09" name="Freeform 496">
                <a:extLst>
                  <a:ext uri="{FF2B5EF4-FFF2-40B4-BE49-F238E27FC236}">
                    <a16:creationId xmlns:a16="http://schemas.microsoft.com/office/drawing/2014/main" id="{DE47B3FD-E9D5-19D5-10BD-7D10DA4B69BB}"/>
                  </a:ext>
                </a:extLst>
              </p:cNvPr>
              <p:cNvSpPr>
                <a:spLocks/>
              </p:cNvSpPr>
              <p:nvPr/>
            </p:nvSpPr>
            <p:spPr bwMode="auto">
              <a:xfrm>
                <a:off x="6189680" y="2493981"/>
                <a:ext cx="66675" cy="65087"/>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0" name="Freeform 497">
                <a:extLst>
                  <a:ext uri="{FF2B5EF4-FFF2-40B4-BE49-F238E27FC236}">
                    <a16:creationId xmlns:a16="http://schemas.microsoft.com/office/drawing/2014/main" id="{B8E4E240-B148-3E11-8678-C233C9A86DE7}"/>
                  </a:ext>
                </a:extLst>
              </p:cNvPr>
              <p:cNvSpPr>
                <a:spLocks noEditPoints="1"/>
              </p:cNvSpPr>
              <p:nvPr/>
            </p:nvSpPr>
            <p:spPr bwMode="auto">
              <a:xfrm>
                <a:off x="6186505" y="2490806"/>
                <a:ext cx="73025" cy="71437"/>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11" name="Freeform 498">
                <a:extLst>
                  <a:ext uri="{FF2B5EF4-FFF2-40B4-BE49-F238E27FC236}">
                    <a16:creationId xmlns:a16="http://schemas.microsoft.com/office/drawing/2014/main" id="{B97AF42F-52A0-3B67-776B-DD2C54C64A11}"/>
                  </a:ext>
                </a:extLst>
              </p:cNvPr>
              <p:cNvSpPr>
                <a:spLocks/>
              </p:cNvSpPr>
              <p:nvPr/>
            </p:nvSpPr>
            <p:spPr bwMode="auto">
              <a:xfrm>
                <a:off x="6269055" y="2486043"/>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2" name="Freeform 499">
                <a:extLst>
                  <a:ext uri="{FF2B5EF4-FFF2-40B4-BE49-F238E27FC236}">
                    <a16:creationId xmlns:a16="http://schemas.microsoft.com/office/drawing/2014/main" id="{39EED4EB-0B85-E5A8-7BDF-074D6D7DE679}"/>
                  </a:ext>
                </a:extLst>
              </p:cNvPr>
              <p:cNvSpPr>
                <a:spLocks noEditPoints="1"/>
              </p:cNvSpPr>
              <p:nvPr/>
            </p:nvSpPr>
            <p:spPr bwMode="auto">
              <a:xfrm>
                <a:off x="6264293" y="2482868"/>
                <a:ext cx="73025" cy="71438"/>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13" name="Freeform 500">
                <a:extLst>
                  <a:ext uri="{FF2B5EF4-FFF2-40B4-BE49-F238E27FC236}">
                    <a16:creationId xmlns:a16="http://schemas.microsoft.com/office/drawing/2014/main" id="{23AE8885-3535-D196-43E2-586A43F63F9A}"/>
                  </a:ext>
                </a:extLst>
              </p:cNvPr>
              <p:cNvSpPr>
                <a:spLocks/>
              </p:cNvSpPr>
              <p:nvPr/>
            </p:nvSpPr>
            <p:spPr bwMode="auto">
              <a:xfrm>
                <a:off x="6345255" y="2478106"/>
                <a:ext cx="65088"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4" name="Freeform 501">
                <a:extLst>
                  <a:ext uri="{FF2B5EF4-FFF2-40B4-BE49-F238E27FC236}">
                    <a16:creationId xmlns:a16="http://schemas.microsoft.com/office/drawing/2014/main" id="{CC3D8A3A-02FA-D943-5450-4AB508B5439F}"/>
                  </a:ext>
                </a:extLst>
              </p:cNvPr>
              <p:cNvSpPr>
                <a:spLocks noEditPoints="1"/>
              </p:cNvSpPr>
              <p:nvPr/>
            </p:nvSpPr>
            <p:spPr bwMode="auto">
              <a:xfrm>
                <a:off x="6342080" y="2474931"/>
                <a:ext cx="73025" cy="71437"/>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15" name="Freeform 502">
                <a:extLst>
                  <a:ext uri="{FF2B5EF4-FFF2-40B4-BE49-F238E27FC236}">
                    <a16:creationId xmlns:a16="http://schemas.microsoft.com/office/drawing/2014/main" id="{6988C5AD-5F1A-38C4-544A-4C6FB440DFD5}"/>
                  </a:ext>
                </a:extLst>
              </p:cNvPr>
              <p:cNvSpPr>
                <a:spLocks/>
              </p:cNvSpPr>
              <p:nvPr/>
            </p:nvSpPr>
            <p:spPr bwMode="auto">
              <a:xfrm>
                <a:off x="6423043" y="2466993"/>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6" name="Freeform 503">
                <a:extLst>
                  <a:ext uri="{FF2B5EF4-FFF2-40B4-BE49-F238E27FC236}">
                    <a16:creationId xmlns:a16="http://schemas.microsoft.com/office/drawing/2014/main" id="{3391F960-6BB4-EB0E-D7B6-30ABA38AB5DE}"/>
                  </a:ext>
                </a:extLst>
              </p:cNvPr>
              <p:cNvSpPr>
                <a:spLocks noEditPoints="1"/>
              </p:cNvSpPr>
              <p:nvPr/>
            </p:nvSpPr>
            <p:spPr bwMode="auto">
              <a:xfrm>
                <a:off x="6419868" y="246381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17" name="Freeform 504">
                <a:extLst>
                  <a:ext uri="{FF2B5EF4-FFF2-40B4-BE49-F238E27FC236}">
                    <a16:creationId xmlns:a16="http://schemas.microsoft.com/office/drawing/2014/main" id="{17609DD2-EB22-7D2B-309F-1B36FADC0DCA}"/>
                  </a:ext>
                </a:extLst>
              </p:cNvPr>
              <p:cNvSpPr>
                <a:spLocks/>
              </p:cNvSpPr>
              <p:nvPr/>
            </p:nvSpPr>
            <p:spPr bwMode="auto">
              <a:xfrm>
                <a:off x="6500830" y="245746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8" name="Freeform 505">
                <a:extLst>
                  <a:ext uri="{FF2B5EF4-FFF2-40B4-BE49-F238E27FC236}">
                    <a16:creationId xmlns:a16="http://schemas.microsoft.com/office/drawing/2014/main" id="{9FA999AF-8E16-BECB-1704-E2519839945D}"/>
                  </a:ext>
                </a:extLst>
              </p:cNvPr>
              <p:cNvSpPr>
                <a:spLocks noEditPoints="1"/>
              </p:cNvSpPr>
              <p:nvPr/>
            </p:nvSpPr>
            <p:spPr bwMode="auto">
              <a:xfrm>
                <a:off x="6497655" y="2454293"/>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19" name="Freeform 506">
                <a:extLst>
                  <a:ext uri="{FF2B5EF4-FFF2-40B4-BE49-F238E27FC236}">
                    <a16:creationId xmlns:a16="http://schemas.microsoft.com/office/drawing/2014/main" id="{7B8A9C1D-E5A2-F15A-FF51-5DA60E210C50}"/>
                  </a:ext>
                </a:extLst>
              </p:cNvPr>
              <p:cNvSpPr>
                <a:spLocks/>
              </p:cNvSpPr>
              <p:nvPr/>
            </p:nvSpPr>
            <p:spPr bwMode="auto">
              <a:xfrm>
                <a:off x="6580205" y="2444768"/>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0" name="Freeform 507">
                <a:extLst>
                  <a:ext uri="{FF2B5EF4-FFF2-40B4-BE49-F238E27FC236}">
                    <a16:creationId xmlns:a16="http://schemas.microsoft.com/office/drawing/2014/main" id="{97D14CAE-190E-009B-A3C4-51AB64667D33}"/>
                  </a:ext>
                </a:extLst>
              </p:cNvPr>
              <p:cNvSpPr>
                <a:spLocks noEditPoints="1"/>
              </p:cNvSpPr>
              <p:nvPr/>
            </p:nvSpPr>
            <p:spPr bwMode="auto">
              <a:xfrm>
                <a:off x="6577030" y="2441593"/>
                <a:ext cx="71438"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21" name="Freeform 508">
                <a:extLst>
                  <a:ext uri="{FF2B5EF4-FFF2-40B4-BE49-F238E27FC236}">
                    <a16:creationId xmlns:a16="http://schemas.microsoft.com/office/drawing/2014/main" id="{FCD067ED-5027-E5AF-D53B-CD3069499CE7}"/>
                  </a:ext>
                </a:extLst>
              </p:cNvPr>
              <p:cNvSpPr>
                <a:spLocks/>
              </p:cNvSpPr>
              <p:nvPr/>
            </p:nvSpPr>
            <p:spPr bwMode="auto">
              <a:xfrm>
                <a:off x="6656405" y="2432068"/>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2" name="Freeform 509">
                <a:extLst>
                  <a:ext uri="{FF2B5EF4-FFF2-40B4-BE49-F238E27FC236}">
                    <a16:creationId xmlns:a16="http://schemas.microsoft.com/office/drawing/2014/main" id="{6867B6BC-F2FC-C26B-7280-E095EF1678E8}"/>
                  </a:ext>
                </a:extLst>
              </p:cNvPr>
              <p:cNvSpPr>
                <a:spLocks noEditPoints="1"/>
              </p:cNvSpPr>
              <p:nvPr/>
            </p:nvSpPr>
            <p:spPr bwMode="auto">
              <a:xfrm>
                <a:off x="6653230" y="2428893"/>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23" name="Freeform 510">
                <a:extLst>
                  <a:ext uri="{FF2B5EF4-FFF2-40B4-BE49-F238E27FC236}">
                    <a16:creationId xmlns:a16="http://schemas.microsoft.com/office/drawing/2014/main" id="{7A689BD9-0B81-65B8-47DB-4EE481C966F7}"/>
                  </a:ext>
                </a:extLst>
              </p:cNvPr>
              <p:cNvSpPr>
                <a:spLocks/>
              </p:cNvSpPr>
              <p:nvPr/>
            </p:nvSpPr>
            <p:spPr bwMode="auto">
              <a:xfrm>
                <a:off x="6734193" y="2417781"/>
                <a:ext cx="66675" cy="65087"/>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4" name="Freeform 511">
                <a:extLst>
                  <a:ext uri="{FF2B5EF4-FFF2-40B4-BE49-F238E27FC236}">
                    <a16:creationId xmlns:a16="http://schemas.microsoft.com/office/drawing/2014/main" id="{AAC76734-9CF6-82CE-2F64-90733E0B1564}"/>
                  </a:ext>
                </a:extLst>
              </p:cNvPr>
              <p:cNvSpPr>
                <a:spLocks noEditPoints="1"/>
              </p:cNvSpPr>
              <p:nvPr/>
            </p:nvSpPr>
            <p:spPr bwMode="auto">
              <a:xfrm>
                <a:off x="6731018" y="2414606"/>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25" name="Freeform 512">
                <a:extLst>
                  <a:ext uri="{FF2B5EF4-FFF2-40B4-BE49-F238E27FC236}">
                    <a16:creationId xmlns:a16="http://schemas.microsoft.com/office/drawing/2014/main" id="{8C2EC161-324D-BC9D-F454-EF72C509CBC8}"/>
                  </a:ext>
                </a:extLst>
              </p:cNvPr>
              <p:cNvSpPr>
                <a:spLocks/>
              </p:cNvSpPr>
              <p:nvPr/>
            </p:nvSpPr>
            <p:spPr bwMode="auto">
              <a:xfrm>
                <a:off x="6813568" y="2401906"/>
                <a:ext cx="65087"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6" name="Freeform 513">
                <a:extLst>
                  <a:ext uri="{FF2B5EF4-FFF2-40B4-BE49-F238E27FC236}">
                    <a16:creationId xmlns:a16="http://schemas.microsoft.com/office/drawing/2014/main" id="{AFB966EA-4B5D-37BA-021F-1AE9EA66AEE5}"/>
                  </a:ext>
                </a:extLst>
              </p:cNvPr>
              <p:cNvSpPr>
                <a:spLocks noEditPoints="1"/>
              </p:cNvSpPr>
              <p:nvPr/>
            </p:nvSpPr>
            <p:spPr bwMode="auto">
              <a:xfrm>
                <a:off x="6808805" y="2398731"/>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27" name="Freeform 514">
                <a:extLst>
                  <a:ext uri="{FF2B5EF4-FFF2-40B4-BE49-F238E27FC236}">
                    <a16:creationId xmlns:a16="http://schemas.microsoft.com/office/drawing/2014/main" id="{4FEFD688-2A1E-8AB7-5A12-70330CAE7802}"/>
                  </a:ext>
                </a:extLst>
              </p:cNvPr>
              <p:cNvSpPr>
                <a:spLocks/>
              </p:cNvSpPr>
              <p:nvPr/>
            </p:nvSpPr>
            <p:spPr bwMode="auto">
              <a:xfrm>
                <a:off x="6891355" y="2384443"/>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8" name="Freeform 515">
                <a:extLst>
                  <a:ext uri="{FF2B5EF4-FFF2-40B4-BE49-F238E27FC236}">
                    <a16:creationId xmlns:a16="http://schemas.microsoft.com/office/drawing/2014/main" id="{D684CF37-B252-6F0F-8170-6223FBDA39DC}"/>
                  </a:ext>
                </a:extLst>
              </p:cNvPr>
              <p:cNvSpPr>
                <a:spLocks noEditPoints="1"/>
              </p:cNvSpPr>
              <p:nvPr/>
            </p:nvSpPr>
            <p:spPr bwMode="auto">
              <a:xfrm>
                <a:off x="6888180" y="238126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29" name="Freeform 516">
                <a:extLst>
                  <a:ext uri="{FF2B5EF4-FFF2-40B4-BE49-F238E27FC236}">
                    <a16:creationId xmlns:a16="http://schemas.microsoft.com/office/drawing/2014/main" id="{E4E8DA0F-3850-D6EC-C685-5753C99485CD}"/>
                  </a:ext>
                </a:extLst>
              </p:cNvPr>
              <p:cNvSpPr>
                <a:spLocks/>
              </p:cNvSpPr>
              <p:nvPr/>
            </p:nvSpPr>
            <p:spPr bwMode="auto">
              <a:xfrm>
                <a:off x="6969143" y="2365393"/>
                <a:ext cx="65087"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0" name="Freeform 517">
                <a:extLst>
                  <a:ext uri="{FF2B5EF4-FFF2-40B4-BE49-F238E27FC236}">
                    <a16:creationId xmlns:a16="http://schemas.microsoft.com/office/drawing/2014/main" id="{230ECD85-D49F-AA61-8984-CD4E2755D5D2}"/>
                  </a:ext>
                </a:extLst>
              </p:cNvPr>
              <p:cNvSpPr>
                <a:spLocks noEditPoints="1"/>
              </p:cNvSpPr>
              <p:nvPr/>
            </p:nvSpPr>
            <p:spPr bwMode="auto">
              <a:xfrm>
                <a:off x="6965968" y="2362218"/>
                <a:ext cx="73025" cy="73025"/>
              </a:xfrm>
              <a:custGeom>
                <a:avLst/>
                <a:gdLst>
                  <a:gd name="T0" fmla="*/ 2147483647 w 515"/>
                  <a:gd name="T1" fmla="*/ 2147483647 h 515"/>
                  <a:gd name="T2" fmla="*/ 2147483647 w 515"/>
                  <a:gd name="T3" fmla="*/ 0 h 515"/>
                  <a:gd name="T4" fmla="*/ 2147483647 w 515"/>
                  <a:gd name="T5" fmla="*/ 2147483647 h 515"/>
                  <a:gd name="T6" fmla="*/ 2147483647 w 515"/>
                  <a:gd name="T7" fmla="*/ 2147483647 h 515"/>
                  <a:gd name="T8" fmla="*/ 2147483647 w 515"/>
                  <a:gd name="T9" fmla="*/ 2147483647 h 515"/>
                  <a:gd name="T10" fmla="*/ 2147483647 w 515"/>
                  <a:gd name="T11" fmla="*/ 2147483647 h 515"/>
                  <a:gd name="T12" fmla="*/ 2147483647 w 515"/>
                  <a:gd name="T13" fmla="*/ 2147483647 h 515"/>
                  <a:gd name="T14" fmla="*/ 2147483647 w 515"/>
                  <a:gd name="T15" fmla="*/ 2147483647 h 515"/>
                  <a:gd name="T16" fmla="*/ 0 w 515"/>
                  <a:gd name="T17" fmla="*/ 2147483647 h 515"/>
                  <a:gd name="T18" fmla="*/ 2147483647 w 515"/>
                  <a:gd name="T19" fmla="*/ 2147483647 h 515"/>
                  <a:gd name="T20" fmla="*/ 2147483647 w 515"/>
                  <a:gd name="T21" fmla="*/ 2147483647 h 515"/>
                  <a:gd name="T22" fmla="*/ 2147483647 w 515"/>
                  <a:gd name="T23" fmla="*/ 2147483647 h 515"/>
                  <a:gd name="T24" fmla="*/ 2147483647 w 515"/>
                  <a:gd name="T25" fmla="*/ 2147483647 h 515"/>
                  <a:gd name="T26" fmla="*/ 2147483647 w 515"/>
                  <a:gd name="T27" fmla="*/ 2147483647 h 515"/>
                  <a:gd name="T28" fmla="*/ 2147483647 w 515"/>
                  <a:gd name="T29" fmla="*/ 2147483647 h 515"/>
                  <a:gd name="T30" fmla="*/ 2147483647 w 515"/>
                  <a:gd name="T31" fmla="*/ 2147483647 h 515"/>
                  <a:gd name="T32" fmla="*/ 2147483647 w 515"/>
                  <a:gd name="T33" fmla="*/ 2147483647 h 515"/>
                  <a:gd name="T34" fmla="*/ 2147483647 w 515"/>
                  <a:gd name="T35" fmla="*/ 2147483647 h 515"/>
                  <a:gd name="T36" fmla="*/ 2147483647 w 515"/>
                  <a:gd name="T37" fmla="*/ 2147483647 h 515"/>
                  <a:gd name="T38" fmla="*/ 2147483647 w 515"/>
                  <a:gd name="T39" fmla="*/ 2147483647 h 5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5" h="515">
                    <a:moveTo>
                      <a:pt x="241" y="7"/>
                    </a:moveTo>
                    <a:cubicBezTo>
                      <a:pt x="245" y="3"/>
                      <a:pt x="251" y="0"/>
                      <a:pt x="258" y="0"/>
                    </a:cubicBezTo>
                    <a:cubicBezTo>
                      <a:pt x="264" y="0"/>
                      <a:pt x="270" y="3"/>
                      <a:pt x="275" y="8"/>
                    </a:cubicBezTo>
                    <a:lnTo>
                      <a:pt x="506" y="241"/>
                    </a:lnTo>
                    <a:cubicBezTo>
                      <a:pt x="515" y="250"/>
                      <a:pt x="515" y="265"/>
                      <a:pt x="505" y="275"/>
                    </a:cubicBezTo>
                    <a:lnTo>
                      <a:pt x="275" y="505"/>
                    </a:lnTo>
                    <a:cubicBezTo>
                      <a:pt x="265" y="515"/>
                      <a:pt x="250" y="515"/>
                      <a:pt x="241" y="506"/>
                    </a:cubicBezTo>
                    <a:lnTo>
                      <a:pt x="8" y="275"/>
                    </a:lnTo>
                    <a:cubicBezTo>
                      <a:pt x="3" y="270"/>
                      <a:pt x="0" y="264"/>
                      <a:pt x="0" y="258"/>
                    </a:cubicBezTo>
                    <a:cubicBezTo>
                      <a:pt x="0" y="251"/>
                      <a:pt x="3" y="245"/>
                      <a:pt x="7" y="241"/>
                    </a:cubicBezTo>
                    <a:lnTo>
                      <a:pt x="241" y="7"/>
                    </a:lnTo>
                    <a:close/>
                    <a:moveTo>
                      <a:pt x="41" y="275"/>
                    </a:moveTo>
                    <a:lnTo>
                      <a:pt x="41" y="241"/>
                    </a:lnTo>
                    <a:lnTo>
                      <a:pt x="275" y="471"/>
                    </a:lnTo>
                    <a:lnTo>
                      <a:pt x="241" y="471"/>
                    </a:lnTo>
                    <a:lnTo>
                      <a:pt x="471" y="241"/>
                    </a:lnTo>
                    <a:lnTo>
                      <a:pt x="471" y="275"/>
                    </a:lnTo>
                    <a:lnTo>
                      <a:pt x="241" y="41"/>
                    </a:lnTo>
                    <a:lnTo>
                      <a:pt x="275" y="41"/>
                    </a:lnTo>
                    <a:lnTo>
                      <a:pt x="41" y="275"/>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31" name="Freeform 518">
                <a:extLst>
                  <a:ext uri="{FF2B5EF4-FFF2-40B4-BE49-F238E27FC236}">
                    <a16:creationId xmlns:a16="http://schemas.microsoft.com/office/drawing/2014/main" id="{0028C333-9BFA-10AA-E446-BCDDFDE550DC}"/>
                  </a:ext>
                </a:extLst>
              </p:cNvPr>
              <p:cNvSpPr>
                <a:spLocks/>
              </p:cNvSpPr>
              <p:nvPr/>
            </p:nvSpPr>
            <p:spPr bwMode="auto">
              <a:xfrm>
                <a:off x="7046930" y="2344756"/>
                <a:ext cx="65088" cy="65087"/>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2" name="Freeform 519">
                <a:extLst>
                  <a:ext uri="{FF2B5EF4-FFF2-40B4-BE49-F238E27FC236}">
                    <a16:creationId xmlns:a16="http://schemas.microsoft.com/office/drawing/2014/main" id="{10BC101B-5C2C-1A94-5659-FC02A00A9694}"/>
                  </a:ext>
                </a:extLst>
              </p:cNvPr>
              <p:cNvSpPr>
                <a:spLocks noEditPoints="1"/>
              </p:cNvSpPr>
              <p:nvPr/>
            </p:nvSpPr>
            <p:spPr bwMode="auto">
              <a:xfrm>
                <a:off x="7042168" y="234158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33" name="Freeform 520">
                <a:extLst>
                  <a:ext uri="{FF2B5EF4-FFF2-40B4-BE49-F238E27FC236}">
                    <a16:creationId xmlns:a16="http://schemas.microsoft.com/office/drawing/2014/main" id="{3DE37DEB-B5F1-060A-D982-44A98FFC2DAB}"/>
                  </a:ext>
                </a:extLst>
              </p:cNvPr>
              <p:cNvSpPr>
                <a:spLocks/>
              </p:cNvSpPr>
              <p:nvPr/>
            </p:nvSpPr>
            <p:spPr bwMode="auto">
              <a:xfrm>
                <a:off x="7124718" y="2320943"/>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4" name="Freeform 521">
                <a:extLst>
                  <a:ext uri="{FF2B5EF4-FFF2-40B4-BE49-F238E27FC236}">
                    <a16:creationId xmlns:a16="http://schemas.microsoft.com/office/drawing/2014/main" id="{D697C691-F4E0-B4D5-FBC6-EC76C2CA75EF}"/>
                  </a:ext>
                </a:extLst>
              </p:cNvPr>
              <p:cNvSpPr>
                <a:spLocks noEditPoints="1"/>
              </p:cNvSpPr>
              <p:nvPr/>
            </p:nvSpPr>
            <p:spPr bwMode="auto">
              <a:xfrm>
                <a:off x="7121543" y="2317768"/>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35" name="Freeform 522">
                <a:extLst>
                  <a:ext uri="{FF2B5EF4-FFF2-40B4-BE49-F238E27FC236}">
                    <a16:creationId xmlns:a16="http://schemas.microsoft.com/office/drawing/2014/main" id="{EE8F8EFB-20CA-B217-113E-93E5585691E6}"/>
                  </a:ext>
                </a:extLst>
              </p:cNvPr>
              <p:cNvSpPr>
                <a:spLocks/>
              </p:cNvSpPr>
              <p:nvPr/>
            </p:nvSpPr>
            <p:spPr bwMode="auto">
              <a:xfrm>
                <a:off x="7202505" y="229395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6" name="Freeform 523">
                <a:extLst>
                  <a:ext uri="{FF2B5EF4-FFF2-40B4-BE49-F238E27FC236}">
                    <a16:creationId xmlns:a16="http://schemas.microsoft.com/office/drawing/2014/main" id="{7D858AC9-7692-7D1B-365A-A223BBD4838D}"/>
                  </a:ext>
                </a:extLst>
              </p:cNvPr>
              <p:cNvSpPr>
                <a:spLocks noEditPoints="1"/>
              </p:cNvSpPr>
              <p:nvPr/>
            </p:nvSpPr>
            <p:spPr bwMode="auto">
              <a:xfrm>
                <a:off x="7199330" y="229078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37" name="Freeform 524">
                <a:extLst>
                  <a:ext uri="{FF2B5EF4-FFF2-40B4-BE49-F238E27FC236}">
                    <a16:creationId xmlns:a16="http://schemas.microsoft.com/office/drawing/2014/main" id="{59F552F9-3B12-F5E6-29E8-76F09AB859F3}"/>
                  </a:ext>
                </a:extLst>
              </p:cNvPr>
              <p:cNvSpPr>
                <a:spLocks/>
              </p:cNvSpPr>
              <p:nvPr/>
            </p:nvSpPr>
            <p:spPr bwMode="auto">
              <a:xfrm>
                <a:off x="7280293" y="2266968"/>
                <a:ext cx="66675" cy="65088"/>
              </a:xfrm>
              <a:custGeom>
                <a:avLst/>
                <a:gdLst>
                  <a:gd name="T0" fmla="*/ 2147483647 w 42"/>
                  <a:gd name="T1" fmla="*/ 0 h 41"/>
                  <a:gd name="T2" fmla="*/ 2147483647 w 42"/>
                  <a:gd name="T3" fmla="*/ 2147483647 h 41"/>
                  <a:gd name="T4" fmla="*/ 2147483647 w 42"/>
                  <a:gd name="T5" fmla="*/ 2147483647 h 41"/>
                  <a:gd name="T6" fmla="*/ 0 w 42"/>
                  <a:gd name="T7" fmla="*/ 2147483647 h 41"/>
                  <a:gd name="T8" fmla="*/ 2147483647 w 42"/>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1">
                    <a:moveTo>
                      <a:pt x="21" y="0"/>
                    </a:moveTo>
                    <a:lnTo>
                      <a:pt x="42"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8" name="Freeform 525">
                <a:extLst>
                  <a:ext uri="{FF2B5EF4-FFF2-40B4-BE49-F238E27FC236}">
                    <a16:creationId xmlns:a16="http://schemas.microsoft.com/office/drawing/2014/main" id="{655F3045-D304-EBC7-C1C5-EFA19C4156EB}"/>
                  </a:ext>
                </a:extLst>
              </p:cNvPr>
              <p:cNvSpPr>
                <a:spLocks noEditPoints="1"/>
              </p:cNvSpPr>
              <p:nvPr/>
            </p:nvSpPr>
            <p:spPr bwMode="auto">
              <a:xfrm>
                <a:off x="7277118" y="2262206"/>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39" name="Freeform 526">
                <a:extLst>
                  <a:ext uri="{FF2B5EF4-FFF2-40B4-BE49-F238E27FC236}">
                    <a16:creationId xmlns:a16="http://schemas.microsoft.com/office/drawing/2014/main" id="{CB730901-F3F7-47DB-2641-B070FBECE68A}"/>
                  </a:ext>
                </a:extLst>
              </p:cNvPr>
              <p:cNvSpPr>
                <a:spLocks/>
              </p:cNvSpPr>
              <p:nvPr/>
            </p:nvSpPr>
            <p:spPr bwMode="auto">
              <a:xfrm>
                <a:off x="7358080" y="2235218"/>
                <a:ext cx="65088"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0" name="Freeform 527">
                <a:extLst>
                  <a:ext uri="{FF2B5EF4-FFF2-40B4-BE49-F238E27FC236}">
                    <a16:creationId xmlns:a16="http://schemas.microsoft.com/office/drawing/2014/main" id="{B7694FD2-4D23-7BC9-8079-6D0531D3E9AF}"/>
                  </a:ext>
                </a:extLst>
              </p:cNvPr>
              <p:cNvSpPr>
                <a:spLocks noEditPoints="1"/>
              </p:cNvSpPr>
              <p:nvPr/>
            </p:nvSpPr>
            <p:spPr bwMode="auto">
              <a:xfrm>
                <a:off x="7353318" y="2232043"/>
                <a:ext cx="73025" cy="71438"/>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41" name="Freeform 528">
                <a:extLst>
                  <a:ext uri="{FF2B5EF4-FFF2-40B4-BE49-F238E27FC236}">
                    <a16:creationId xmlns:a16="http://schemas.microsoft.com/office/drawing/2014/main" id="{CE69FE85-A8CE-D5AE-E4F6-89145DF1A343}"/>
                  </a:ext>
                </a:extLst>
              </p:cNvPr>
              <p:cNvSpPr>
                <a:spLocks/>
              </p:cNvSpPr>
              <p:nvPr/>
            </p:nvSpPr>
            <p:spPr bwMode="auto">
              <a:xfrm>
                <a:off x="7435868" y="2200293"/>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2" name="Freeform 529">
                <a:extLst>
                  <a:ext uri="{FF2B5EF4-FFF2-40B4-BE49-F238E27FC236}">
                    <a16:creationId xmlns:a16="http://schemas.microsoft.com/office/drawing/2014/main" id="{9A071312-5DA1-7693-2CA4-B9F4BC1B891B}"/>
                  </a:ext>
                </a:extLst>
              </p:cNvPr>
              <p:cNvSpPr>
                <a:spLocks noEditPoints="1"/>
              </p:cNvSpPr>
              <p:nvPr/>
            </p:nvSpPr>
            <p:spPr bwMode="auto">
              <a:xfrm>
                <a:off x="7432693" y="219553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43" name="Freeform 530">
                <a:extLst>
                  <a:ext uri="{FF2B5EF4-FFF2-40B4-BE49-F238E27FC236}">
                    <a16:creationId xmlns:a16="http://schemas.microsoft.com/office/drawing/2014/main" id="{72A87B4E-D6CA-CF25-6088-C076DD365AD6}"/>
                  </a:ext>
                </a:extLst>
              </p:cNvPr>
              <p:cNvSpPr>
                <a:spLocks/>
              </p:cNvSpPr>
              <p:nvPr/>
            </p:nvSpPr>
            <p:spPr bwMode="auto">
              <a:xfrm>
                <a:off x="7513655" y="2160606"/>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4" name="Freeform 531">
                <a:extLst>
                  <a:ext uri="{FF2B5EF4-FFF2-40B4-BE49-F238E27FC236}">
                    <a16:creationId xmlns:a16="http://schemas.microsoft.com/office/drawing/2014/main" id="{97D23347-472C-15EC-7D66-E173AA66A9B4}"/>
                  </a:ext>
                </a:extLst>
              </p:cNvPr>
              <p:cNvSpPr>
                <a:spLocks noEditPoints="1"/>
              </p:cNvSpPr>
              <p:nvPr/>
            </p:nvSpPr>
            <p:spPr bwMode="auto">
              <a:xfrm>
                <a:off x="7510480" y="2157431"/>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45" name="Freeform 532">
                <a:extLst>
                  <a:ext uri="{FF2B5EF4-FFF2-40B4-BE49-F238E27FC236}">
                    <a16:creationId xmlns:a16="http://schemas.microsoft.com/office/drawing/2014/main" id="{3B73368E-8E1B-364F-45B3-A32FAD0EC41A}"/>
                  </a:ext>
                </a:extLst>
              </p:cNvPr>
              <p:cNvSpPr>
                <a:spLocks/>
              </p:cNvSpPr>
              <p:nvPr/>
            </p:nvSpPr>
            <p:spPr bwMode="auto">
              <a:xfrm>
                <a:off x="7591443" y="2117743"/>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6" name="Freeform 533">
                <a:extLst>
                  <a:ext uri="{FF2B5EF4-FFF2-40B4-BE49-F238E27FC236}">
                    <a16:creationId xmlns:a16="http://schemas.microsoft.com/office/drawing/2014/main" id="{25201F84-0E29-0E0E-ADF8-40D34148AE45}"/>
                  </a:ext>
                </a:extLst>
              </p:cNvPr>
              <p:cNvSpPr>
                <a:spLocks noEditPoints="1"/>
              </p:cNvSpPr>
              <p:nvPr/>
            </p:nvSpPr>
            <p:spPr bwMode="auto">
              <a:xfrm>
                <a:off x="7588268" y="2114568"/>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47" name="Freeform 534">
                <a:extLst>
                  <a:ext uri="{FF2B5EF4-FFF2-40B4-BE49-F238E27FC236}">
                    <a16:creationId xmlns:a16="http://schemas.microsoft.com/office/drawing/2014/main" id="{DE1DF194-477C-05E2-3528-FF5F215D0CA1}"/>
                  </a:ext>
                </a:extLst>
              </p:cNvPr>
              <p:cNvSpPr>
                <a:spLocks/>
              </p:cNvSpPr>
              <p:nvPr/>
            </p:nvSpPr>
            <p:spPr bwMode="auto">
              <a:xfrm>
                <a:off x="7669230" y="2070118"/>
                <a:ext cx="65088" cy="66675"/>
              </a:xfrm>
              <a:custGeom>
                <a:avLst/>
                <a:gdLst>
                  <a:gd name="T0" fmla="*/ 2147483647 w 41"/>
                  <a:gd name="T1" fmla="*/ 0 h 42"/>
                  <a:gd name="T2" fmla="*/ 2147483647 w 41"/>
                  <a:gd name="T3" fmla="*/ 2147483647 h 42"/>
                  <a:gd name="T4" fmla="*/ 2147483647 w 41"/>
                  <a:gd name="T5" fmla="*/ 2147483647 h 42"/>
                  <a:gd name="T6" fmla="*/ 0 w 41"/>
                  <a:gd name="T7" fmla="*/ 2147483647 h 42"/>
                  <a:gd name="T8" fmla="*/ 2147483647 w 41"/>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2">
                    <a:moveTo>
                      <a:pt x="21" y="0"/>
                    </a:moveTo>
                    <a:lnTo>
                      <a:pt x="41"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8" name="Freeform 535">
                <a:extLst>
                  <a:ext uri="{FF2B5EF4-FFF2-40B4-BE49-F238E27FC236}">
                    <a16:creationId xmlns:a16="http://schemas.microsoft.com/office/drawing/2014/main" id="{7D59D161-480A-379C-80B9-2C2A37F017D9}"/>
                  </a:ext>
                </a:extLst>
              </p:cNvPr>
              <p:cNvSpPr>
                <a:spLocks noEditPoints="1"/>
              </p:cNvSpPr>
              <p:nvPr/>
            </p:nvSpPr>
            <p:spPr bwMode="auto">
              <a:xfrm>
                <a:off x="7666055" y="2066943"/>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49" name="Freeform 536">
                <a:extLst>
                  <a:ext uri="{FF2B5EF4-FFF2-40B4-BE49-F238E27FC236}">
                    <a16:creationId xmlns:a16="http://schemas.microsoft.com/office/drawing/2014/main" id="{29E3D4E2-0F54-AFB5-FB29-15211504E421}"/>
                  </a:ext>
                </a:extLst>
              </p:cNvPr>
              <p:cNvSpPr>
                <a:spLocks/>
              </p:cNvSpPr>
              <p:nvPr/>
            </p:nvSpPr>
            <p:spPr bwMode="auto">
              <a:xfrm>
                <a:off x="7747018" y="2019318"/>
                <a:ext cx="65087" cy="65088"/>
              </a:xfrm>
              <a:custGeom>
                <a:avLst/>
                <a:gdLst>
                  <a:gd name="T0" fmla="*/ 2147483647 w 41"/>
                  <a:gd name="T1" fmla="*/ 0 h 41"/>
                  <a:gd name="T2" fmla="*/ 2147483647 w 41"/>
                  <a:gd name="T3" fmla="*/ 2147483647 h 41"/>
                  <a:gd name="T4" fmla="*/ 2147483647 w 41"/>
                  <a:gd name="T5" fmla="*/ 2147483647 h 41"/>
                  <a:gd name="T6" fmla="*/ 0 w 41"/>
                  <a:gd name="T7" fmla="*/ 2147483647 h 41"/>
                  <a:gd name="T8" fmla="*/ 214748364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50" name="Freeform 537">
                <a:extLst>
                  <a:ext uri="{FF2B5EF4-FFF2-40B4-BE49-F238E27FC236}">
                    <a16:creationId xmlns:a16="http://schemas.microsoft.com/office/drawing/2014/main" id="{8F11F579-25D6-8478-DF88-076E990D749A}"/>
                  </a:ext>
                </a:extLst>
              </p:cNvPr>
              <p:cNvSpPr>
                <a:spLocks noEditPoints="1"/>
              </p:cNvSpPr>
              <p:nvPr/>
            </p:nvSpPr>
            <p:spPr bwMode="auto">
              <a:xfrm>
                <a:off x="7743843" y="2016143"/>
                <a:ext cx="73025" cy="71438"/>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51" name="Freeform 538">
                <a:extLst>
                  <a:ext uri="{FF2B5EF4-FFF2-40B4-BE49-F238E27FC236}">
                    <a16:creationId xmlns:a16="http://schemas.microsoft.com/office/drawing/2014/main" id="{0A4A278D-BD47-A768-95C9-290DC9273F0A}"/>
                  </a:ext>
                </a:extLst>
              </p:cNvPr>
              <p:cNvSpPr>
                <a:spLocks/>
              </p:cNvSpPr>
              <p:nvPr/>
            </p:nvSpPr>
            <p:spPr bwMode="auto">
              <a:xfrm>
                <a:off x="7824805" y="1960581"/>
                <a:ext cx="66675" cy="66675"/>
              </a:xfrm>
              <a:custGeom>
                <a:avLst/>
                <a:gdLst>
                  <a:gd name="T0" fmla="*/ 2147483647 w 42"/>
                  <a:gd name="T1" fmla="*/ 0 h 42"/>
                  <a:gd name="T2" fmla="*/ 2147483647 w 42"/>
                  <a:gd name="T3" fmla="*/ 2147483647 h 42"/>
                  <a:gd name="T4" fmla="*/ 2147483647 w 42"/>
                  <a:gd name="T5" fmla="*/ 2147483647 h 42"/>
                  <a:gd name="T6" fmla="*/ 0 w 42"/>
                  <a:gd name="T7" fmla="*/ 2147483647 h 42"/>
                  <a:gd name="T8" fmla="*/ 2147483647 w 42"/>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42">
                    <a:moveTo>
                      <a:pt x="21" y="0"/>
                    </a:moveTo>
                    <a:lnTo>
                      <a:pt x="42" y="21"/>
                    </a:lnTo>
                    <a:lnTo>
                      <a:pt x="21" y="42"/>
                    </a:lnTo>
                    <a:lnTo>
                      <a:pt x="0" y="21"/>
                    </a:lnTo>
                    <a:lnTo>
                      <a:pt x="21" y="0"/>
                    </a:lnTo>
                    <a:close/>
                  </a:path>
                </a:pathLst>
              </a:cu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52" name="Freeform 539">
                <a:extLst>
                  <a:ext uri="{FF2B5EF4-FFF2-40B4-BE49-F238E27FC236}">
                    <a16:creationId xmlns:a16="http://schemas.microsoft.com/office/drawing/2014/main" id="{804E3273-4C35-E2AE-558C-9C36F90E9CB9}"/>
                  </a:ext>
                </a:extLst>
              </p:cNvPr>
              <p:cNvSpPr>
                <a:spLocks noEditPoints="1"/>
              </p:cNvSpPr>
              <p:nvPr/>
            </p:nvSpPr>
            <p:spPr bwMode="auto">
              <a:xfrm>
                <a:off x="7821630" y="1957406"/>
                <a:ext cx="73025" cy="73025"/>
              </a:xfrm>
              <a:custGeom>
                <a:avLst/>
                <a:gdLst>
                  <a:gd name="T0" fmla="*/ 2147483647 w 258"/>
                  <a:gd name="T1" fmla="*/ 2147483647 h 258"/>
                  <a:gd name="T2" fmla="*/ 2147483647 w 258"/>
                  <a:gd name="T3" fmla="*/ 0 h 258"/>
                  <a:gd name="T4" fmla="*/ 2147483647 w 258"/>
                  <a:gd name="T5" fmla="*/ 2147483647 h 258"/>
                  <a:gd name="T6" fmla="*/ 2147483647 w 258"/>
                  <a:gd name="T7" fmla="*/ 2147483647 h 258"/>
                  <a:gd name="T8" fmla="*/ 2147483647 w 258"/>
                  <a:gd name="T9" fmla="*/ 2147483647 h 258"/>
                  <a:gd name="T10" fmla="*/ 2147483647 w 258"/>
                  <a:gd name="T11" fmla="*/ 2147483647 h 258"/>
                  <a:gd name="T12" fmla="*/ 2147483647 w 258"/>
                  <a:gd name="T13" fmla="*/ 2147483647 h 258"/>
                  <a:gd name="T14" fmla="*/ 2147483647 w 258"/>
                  <a:gd name="T15" fmla="*/ 2147483647 h 258"/>
                  <a:gd name="T16" fmla="*/ 0 w 258"/>
                  <a:gd name="T17" fmla="*/ 2147483647 h 258"/>
                  <a:gd name="T18" fmla="*/ 2147483647 w 258"/>
                  <a:gd name="T19" fmla="*/ 2147483647 h 258"/>
                  <a:gd name="T20" fmla="*/ 2147483647 w 258"/>
                  <a:gd name="T21" fmla="*/ 2147483647 h 258"/>
                  <a:gd name="T22" fmla="*/ 2147483647 w 258"/>
                  <a:gd name="T23" fmla="*/ 2147483647 h 258"/>
                  <a:gd name="T24" fmla="*/ 2147483647 w 258"/>
                  <a:gd name="T25" fmla="*/ 2147483647 h 258"/>
                  <a:gd name="T26" fmla="*/ 2147483647 w 258"/>
                  <a:gd name="T27" fmla="*/ 2147483647 h 258"/>
                  <a:gd name="T28" fmla="*/ 2147483647 w 258"/>
                  <a:gd name="T29" fmla="*/ 2147483647 h 258"/>
                  <a:gd name="T30" fmla="*/ 2147483647 w 258"/>
                  <a:gd name="T31" fmla="*/ 2147483647 h 258"/>
                  <a:gd name="T32" fmla="*/ 2147483647 w 258"/>
                  <a:gd name="T33" fmla="*/ 2147483647 h 258"/>
                  <a:gd name="T34" fmla="*/ 2147483647 w 258"/>
                  <a:gd name="T35" fmla="*/ 2147483647 h 258"/>
                  <a:gd name="T36" fmla="*/ 2147483647 w 258"/>
                  <a:gd name="T37" fmla="*/ 2147483647 h 258"/>
                  <a:gd name="T38" fmla="*/ 2147483647 w 258"/>
                  <a:gd name="T39" fmla="*/ 2147483647 h 2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58" h="258">
                    <a:moveTo>
                      <a:pt x="121" y="4"/>
                    </a:moveTo>
                    <a:cubicBezTo>
                      <a:pt x="123" y="2"/>
                      <a:pt x="126" y="0"/>
                      <a:pt x="129" y="0"/>
                    </a:cubicBezTo>
                    <a:cubicBezTo>
                      <a:pt x="132" y="0"/>
                      <a:pt x="135" y="2"/>
                      <a:pt x="138" y="4"/>
                    </a:cubicBezTo>
                    <a:lnTo>
                      <a:pt x="253" y="121"/>
                    </a:lnTo>
                    <a:cubicBezTo>
                      <a:pt x="258" y="125"/>
                      <a:pt x="258" y="133"/>
                      <a:pt x="253" y="138"/>
                    </a:cubicBezTo>
                    <a:lnTo>
                      <a:pt x="138" y="253"/>
                    </a:lnTo>
                    <a:cubicBezTo>
                      <a:pt x="133" y="258"/>
                      <a:pt x="125" y="258"/>
                      <a:pt x="121" y="253"/>
                    </a:cubicBezTo>
                    <a:lnTo>
                      <a:pt x="4" y="138"/>
                    </a:lnTo>
                    <a:cubicBezTo>
                      <a:pt x="2" y="135"/>
                      <a:pt x="0" y="132"/>
                      <a:pt x="0" y="129"/>
                    </a:cubicBezTo>
                    <a:cubicBezTo>
                      <a:pt x="0" y="126"/>
                      <a:pt x="2" y="123"/>
                      <a:pt x="4" y="121"/>
                    </a:cubicBezTo>
                    <a:lnTo>
                      <a:pt x="121" y="4"/>
                    </a:lnTo>
                    <a:close/>
                    <a:moveTo>
                      <a:pt x="21" y="138"/>
                    </a:moveTo>
                    <a:lnTo>
                      <a:pt x="21" y="121"/>
                    </a:lnTo>
                    <a:lnTo>
                      <a:pt x="138" y="236"/>
                    </a:lnTo>
                    <a:lnTo>
                      <a:pt x="121" y="236"/>
                    </a:lnTo>
                    <a:lnTo>
                      <a:pt x="236" y="121"/>
                    </a:lnTo>
                    <a:lnTo>
                      <a:pt x="236" y="138"/>
                    </a:lnTo>
                    <a:lnTo>
                      <a:pt x="121" y="21"/>
                    </a:lnTo>
                    <a:lnTo>
                      <a:pt x="138" y="21"/>
                    </a:lnTo>
                    <a:lnTo>
                      <a:pt x="21" y="138"/>
                    </a:lnTo>
                    <a:close/>
                  </a:path>
                </a:pathLst>
              </a:custGeom>
              <a:solidFill>
                <a:srgbClr val="4A7EBB"/>
              </a:solidFill>
              <a:ln w="0" cap="flat">
                <a:solidFill>
                  <a:srgbClr val="4A7EBB"/>
                </a:solidFill>
                <a:prstDash val="solid"/>
                <a:round/>
                <a:headEnd/>
                <a:tailEnd/>
              </a:ln>
            </p:spPr>
            <p:txBody>
              <a:bodyPr/>
              <a:lstStyle/>
              <a:p>
                <a:endParaRPr lang="en-US" dirty="0"/>
              </a:p>
            </p:txBody>
          </p:sp>
          <p:sp>
            <p:nvSpPr>
              <p:cNvPr id="753" name="Rectangle 540">
                <a:extLst>
                  <a:ext uri="{FF2B5EF4-FFF2-40B4-BE49-F238E27FC236}">
                    <a16:creationId xmlns:a16="http://schemas.microsoft.com/office/drawing/2014/main" id="{385CBA12-3F40-3B06-19BE-6EF94D50138D}"/>
                  </a:ext>
                </a:extLst>
              </p:cNvPr>
              <p:cNvSpPr>
                <a:spLocks noChangeArrowheads="1"/>
              </p:cNvSpPr>
              <p:nvPr/>
            </p:nvSpPr>
            <p:spPr bwMode="auto">
              <a:xfrm>
                <a:off x="5349893" y="2538431"/>
                <a:ext cx="1047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0</a:t>
                </a:r>
                <a:endParaRPr lang="en-US" altLang="en-US" dirty="0"/>
              </a:p>
            </p:txBody>
          </p:sp>
          <p:sp>
            <p:nvSpPr>
              <p:cNvPr id="754" name="Rectangle 541">
                <a:extLst>
                  <a:ext uri="{FF2B5EF4-FFF2-40B4-BE49-F238E27FC236}">
                    <a16:creationId xmlns:a16="http://schemas.microsoft.com/office/drawing/2014/main" id="{7500596B-AB49-E5E6-CCBF-6E121066D353}"/>
                  </a:ext>
                </a:extLst>
              </p:cNvPr>
              <p:cNvSpPr>
                <a:spLocks noChangeArrowheads="1"/>
              </p:cNvSpPr>
              <p:nvPr/>
            </p:nvSpPr>
            <p:spPr bwMode="auto">
              <a:xfrm>
                <a:off x="5302268" y="2387618"/>
                <a:ext cx="1571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755" name="Rectangle 542">
                <a:extLst>
                  <a:ext uri="{FF2B5EF4-FFF2-40B4-BE49-F238E27FC236}">
                    <a16:creationId xmlns:a16="http://schemas.microsoft.com/office/drawing/2014/main" id="{D7CC97CF-5F62-1962-146A-F475B3EAD02B}"/>
                  </a:ext>
                </a:extLst>
              </p:cNvPr>
              <p:cNvSpPr>
                <a:spLocks noChangeArrowheads="1"/>
              </p:cNvSpPr>
              <p:nvPr/>
            </p:nvSpPr>
            <p:spPr bwMode="auto">
              <a:xfrm>
                <a:off x="5302268" y="2236806"/>
                <a:ext cx="157162"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756" name="Rectangle 543">
                <a:extLst>
                  <a:ext uri="{FF2B5EF4-FFF2-40B4-BE49-F238E27FC236}">
                    <a16:creationId xmlns:a16="http://schemas.microsoft.com/office/drawing/2014/main" id="{37379A5D-44CF-240F-0F01-C5251E37EB18}"/>
                  </a:ext>
                </a:extLst>
              </p:cNvPr>
              <p:cNvSpPr>
                <a:spLocks noChangeArrowheads="1"/>
              </p:cNvSpPr>
              <p:nvPr/>
            </p:nvSpPr>
            <p:spPr bwMode="auto">
              <a:xfrm>
                <a:off x="5302268" y="2085993"/>
                <a:ext cx="157162"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757" name="Rectangle 544">
                <a:extLst>
                  <a:ext uri="{FF2B5EF4-FFF2-40B4-BE49-F238E27FC236}">
                    <a16:creationId xmlns:a16="http://schemas.microsoft.com/office/drawing/2014/main" id="{2171A31B-81FE-96DB-8E42-64719F3D96CC}"/>
                  </a:ext>
                </a:extLst>
              </p:cNvPr>
              <p:cNvSpPr>
                <a:spLocks noChangeArrowheads="1"/>
              </p:cNvSpPr>
              <p:nvPr/>
            </p:nvSpPr>
            <p:spPr bwMode="auto">
              <a:xfrm>
                <a:off x="5302268" y="1933593"/>
                <a:ext cx="1571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800" b="0" dirty="0">
                    <a:solidFill>
                      <a:srgbClr val="000000"/>
                    </a:solidFill>
                    <a:latin typeface="Calibri" panose="020F0502020204030204" pitchFamily="34" charset="0"/>
                  </a:rPr>
                  <a:t>40</a:t>
                </a:r>
                <a:endParaRPr lang="en-US" altLang="en-US" dirty="0"/>
              </a:p>
            </p:txBody>
          </p:sp>
          <p:sp>
            <p:nvSpPr>
              <p:cNvPr id="758" name="Rectangle 545">
                <a:extLst>
                  <a:ext uri="{FF2B5EF4-FFF2-40B4-BE49-F238E27FC236}">
                    <a16:creationId xmlns:a16="http://schemas.microsoft.com/office/drawing/2014/main" id="{A3E6D331-AD51-47E7-50DF-2EC20AC171E1}"/>
                  </a:ext>
                </a:extLst>
              </p:cNvPr>
              <p:cNvSpPr>
                <a:spLocks noChangeArrowheads="1"/>
              </p:cNvSpPr>
              <p:nvPr/>
            </p:nvSpPr>
            <p:spPr bwMode="auto">
              <a:xfrm>
                <a:off x="5302268" y="1782781"/>
                <a:ext cx="1571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50</a:t>
                </a:r>
                <a:endParaRPr lang="en-US" altLang="en-US" dirty="0"/>
              </a:p>
            </p:txBody>
          </p:sp>
          <p:sp>
            <p:nvSpPr>
              <p:cNvPr id="759" name="Rectangle 546">
                <a:extLst>
                  <a:ext uri="{FF2B5EF4-FFF2-40B4-BE49-F238E27FC236}">
                    <a16:creationId xmlns:a16="http://schemas.microsoft.com/office/drawing/2014/main" id="{86DF040B-E0E7-2454-571F-BD8FFC3BD7BE}"/>
                  </a:ext>
                </a:extLst>
              </p:cNvPr>
              <p:cNvSpPr>
                <a:spLocks noChangeArrowheads="1"/>
              </p:cNvSpPr>
              <p:nvPr/>
            </p:nvSpPr>
            <p:spPr bwMode="auto">
              <a:xfrm>
                <a:off x="5499118" y="2662256"/>
                <a:ext cx="106362"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0</a:t>
                </a:r>
                <a:endParaRPr lang="en-US" altLang="en-US" dirty="0"/>
              </a:p>
            </p:txBody>
          </p:sp>
          <p:sp>
            <p:nvSpPr>
              <p:cNvPr id="760" name="Rectangle 547">
                <a:extLst>
                  <a:ext uri="{FF2B5EF4-FFF2-40B4-BE49-F238E27FC236}">
                    <a16:creationId xmlns:a16="http://schemas.microsoft.com/office/drawing/2014/main" id="{CB352468-EF2F-BD4F-B682-DCA3A6561EF0}"/>
                  </a:ext>
                </a:extLst>
              </p:cNvPr>
              <p:cNvSpPr>
                <a:spLocks noChangeArrowheads="1"/>
              </p:cNvSpPr>
              <p:nvPr/>
            </p:nvSpPr>
            <p:spPr bwMode="auto">
              <a:xfrm>
                <a:off x="5654693" y="2662256"/>
                <a:ext cx="106362"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a:t>
                </a:r>
                <a:endParaRPr lang="en-US" altLang="en-US" dirty="0"/>
              </a:p>
            </p:txBody>
          </p:sp>
          <p:sp>
            <p:nvSpPr>
              <p:cNvPr id="761" name="Rectangle 548">
                <a:extLst>
                  <a:ext uri="{FF2B5EF4-FFF2-40B4-BE49-F238E27FC236}">
                    <a16:creationId xmlns:a16="http://schemas.microsoft.com/office/drawing/2014/main" id="{B0722F25-7C77-4933-D8B3-D1D697BA1191}"/>
                  </a:ext>
                </a:extLst>
              </p:cNvPr>
              <p:cNvSpPr>
                <a:spLocks noChangeArrowheads="1"/>
              </p:cNvSpPr>
              <p:nvPr/>
            </p:nvSpPr>
            <p:spPr bwMode="auto">
              <a:xfrm>
                <a:off x="5811855" y="2662256"/>
                <a:ext cx="104775"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4</a:t>
                </a:r>
                <a:endParaRPr lang="en-US" altLang="en-US" dirty="0"/>
              </a:p>
            </p:txBody>
          </p:sp>
          <p:sp>
            <p:nvSpPr>
              <p:cNvPr id="762" name="Rectangle 549">
                <a:extLst>
                  <a:ext uri="{FF2B5EF4-FFF2-40B4-BE49-F238E27FC236}">
                    <a16:creationId xmlns:a16="http://schemas.microsoft.com/office/drawing/2014/main" id="{8A8AA3DB-5381-1410-15EB-F69F2590CD8A}"/>
                  </a:ext>
                </a:extLst>
              </p:cNvPr>
              <p:cNvSpPr>
                <a:spLocks noChangeArrowheads="1"/>
              </p:cNvSpPr>
              <p:nvPr/>
            </p:nvSpPr>
            <p:spPr bwMode="auto">
              <a:xfrm>
                <a:off x="5967430" y="2662256"/>
                <a:ext cx="104775"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6</a:t>
                </a:r>
                <a:endParaRPr lang="en-US" altLang="en-US" dirty="0"/>
              </a:p>
            </p:txBody>
          </p:sp>
          <p:sp>
            <p:nvSpPr>
              <p:cNvPr id="763" name="Rectangle 550">
                <a:extLst>
                  <a:ext uri="{FF2B5EF4-FFF2-40B4-BE49-F238E27FC236}">
                    <a16:creationId xmlns:a16="http://schemas.microsoft.com/office/drawing/2014/main" id="{2C10EA3A-E01B-ECB9-B57C-49E04642F9FA}"/>
                  </a:ext>
                </a:extLst>
              </p:cNvPr>
              <p:cNvSpPr>
                <a:spLocks noChangeArrowheads="1"/>
              </p:cNvSpPr>
              <p:nvPr/>
            </p:nvSpPr>
            <p:spPr bwMode="auto">
              <a:xfrm>
                <a:off x="6123005" y="2662256"/>
                <a:ext cx="104775"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8</a:t>
                </a:r>
                <a:endParaRPr lang="en-US" altLang="en-US" dirty="0"/>
              </a:p>
            </p:txBody>
          </p:sp>
          <p:sp>
            <p:nvSpPr>
              <p:cNvPr id="764" name="Rectangle 551">
                <a:extLst>
                  <a:ext uri="{FF2B5EF4-FFF2-40B4-BE49-F238E27FC236}">
                    <a16:creationId xmlns:a16="http://schemas.microsoft.com/office/drawing/2014/main" id="{6A0FBF09-835B-DC55-DBEF-D376DB5813A3}"/>
                  </a:ext>
                </a:extLst>
              </p:cNvPr>
              <p:cNvSpPr>
                <a:spLocks noChangeArrowheads="1"/>
              </p:cNvSpPr>
              <p:nvPr/>
            </p:nvSpPr>
            <p:spPr bwMode="auto">
              <a:xfrm>
                <a:off x="6254768"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0</a:t>
                </a:r>
                <a:endParaRPr lang="en-US" altLang="en-US" dirty="0"/>
              </a:p>
            </p:txBody>
          </p:sp>
          <p:sp>
            <p:nvSpPr>
              <p:cNvPr id="765" name="Rectangle 552">
                <a:extLst>
                  <a:ext uri="{FF2B5EF4-FFF2-40B4-BE49-F238E27FC236}">
                    <a16:creationId xmlns:a16="http://schemas.microsoft.com/office/drawing/2014/main" id="{19A69351-555E-71A5-147B-E61246807A0B}"/>
                  </a:ext>
                </a:extLst>
              </p:cNvPr>
              <p:cNvSpPr>
                <a:spLocks noChangeArrowheads="1"/>
              </p:cNvSpPr>
              <p:nvPr/>
            </p:nvSpPr>
            <p:spPr bwMode="auto">
              <a:xfrm>
                <a:off x="6410343"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2</a:t>
                </a:r>
                <a:endParaRPr lang="en-US" altLang="en-US" dirty="0"/>
              </a:p>
            </p:txBody>
          </p:sp>
          <p:sp>
            <p:nvSpPr>
              <p:cNvPr id="766" name="Rectangle 553">
                <a:extLst>
                  <a:ext uri="{FF2B5EF4-FFF2-40B4-BE49-F238E27FC236}">
                    <a16:creationId xmlns:a16="http://schemas.microsoft.com/office/drawing/2014/main" id="{16E0FECD-B3FE-EF76-2C9C-11AB87EDAEC1}"/>
                  </a:ext>
                </a:extLst>
              </p:cNvPr>
              <p:cNvSpPr>
                <a:spLocks noChangeArrowheads="1"/>
              </p:cNvSpPr>
              <p:nvPr/>
            </p:nvSpPr>
            <p:spPr bwMode="auto">
              <a:xfrm>
                <a:off x="6565918"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4</a:t>
                </a:r>
                <a:endParaRPr lang="en-US" altLang="en-US" dirty="0"/>
              </a:p>
            </p:txBody>
          </p:sp>
          <p:sp>
            <p:nvSpPr>
              <p:cNvPr id="767" name="Rectangle 554">
                <a:extLst>
                  <a:ext uri="{FF2B5EF4-FFF2-40B4-BE49-F238E27FC236}">
                    <a16:creationId xmlns:a16="http://schemas.microsoft.com/office/drawing/2014/main" id="{C428C2D1-EF9C-D38B-F9B7-8E8C0960BA74}"/>
                  </a:ext>
                </a:extLst>
              </p:cNvPr>
              <p:cNvSpPr>
                <a:spLocks noChangeArrowheads="1"/>
              </p:cNvSpPr>
              <p:nvPr/>
            </p:nvSpPr>
            <p:spPr bwMode="auto">
              <a:xfrm>
                <a:off x="6721493"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6</a:t>
                </a:r>
                <a:endParaRPr lang="en-US" altLang="en-US" dirty="0"/>
              </a:p>
            </p:txBody>
          </p:sp>
          <p:sp>
            <p:nvSpPr>
              <p:cNvPr id="768" name="Rectangle 555">
                <a:extLst>
                  <a:ext uri="{FF2B5EF4-FFF2-40B4-BE49-F238E27FC236}">
                    <a16:creationId xmlns:a16="http://schemas.microsoft.com/office/drawing/2014/main" id="{21748641-13AF-EE82-3DC5-542BA0A3E715}"/>
                  </a:ext>
                </a:extLst>
              </p:cNvPr>
              <p:cNvSpPr>
                <a:spLocks noChangeArrowheads="1"/>
              </p:cNvSpPr>
              <p:nvPr/>
            </p:nvSpPr>
            <p:spPr bwMode="auto">
              <a:xfrm>
                <a:off x="6877068"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18</a:t>
                </a:r>
                <a:endParaRPr lang="en-US" altLang="en-US" dirty="0"/>
              </a:p>
            </p:txBody>
          </p:sp>
          <p:sp>
            <p:nvSpPr>
              <p:cNvPr id="769" name="Rectangle 556">
                <a:extLst>
                  <a:ext uri="{FF2B5EF4-FFF2-40B4-BE49-F238E27FC236}">
                    <a16:creationId xmlns:a16="http://schemas.microsoft.com/office/drawing/2014/main" id="{F8B8F435-1AE3-6A51-D200-C61C6332A032}"/>
                  </a:ext>
                </a:extLst>
              </p:cNvPr>
              <p:cNvSpPr>
                <a:spLocks noChangeArrowheads="1"/>
              </p:cNvSpPr>
              <p:nvPr/>
            </p:nvSpPr>
            <p:spPr bwMode="auto">
              <a:xfrm>
                <a:off x="7032643"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0</a:t>
                </a:r>
                <a:endParaRPr lang="en-US" altLang="en-US" dirty="0"/>
              </a:p>
            </p:txBody>
          </p:sp>
          <p:sp>
            <p:nvSpPr>
              <p:cNvPr id="770" name="Rectangle 557">
                <a:extLst>
                  <a:ext uri="{FF2B5EF4-FFF2-40B4-BE49-F238E27FC236}">
                    <a16:creationId xmlns:a16="http://schemas.microsoft.com/office/drawing/2014/main" id="{298C8C96-3B4E-2A54-1AD6-0E47B88B30B0}"/>
                  </a:ext>
                </a:extLst>
              </p:cNvPr>
              <p:cNvSpPr>
                <a:spLocks noChangeArrowheads="1"/>
              </p:cNvSpPr>
              <p:nvPr/>
            </p:nvSpPr>
            <p:spPr bwMode="auto">
              <a:xfrm>
                <a:off x="7188218"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2</a:t>
                </a:r>
                <a:endParaRPr lang="en-US" altLang="en-US" dirty="0"/>
              </a:p>
            </p:txBody>
          </p:sp>
          <p:sp>
            <p:nvSpPr>
              <p:cNvPr id="771" name="Rectangle 558">
                <a:extLst>
                  <a:ext uri="{FF2B5EF4-FFF2-40B4-BE49-F238E27FC236}">
                    <a16:creationId xmlns:a16="http://schemas.microsoft.com/office/drawing/2014/main" id="{065A8472-94D9-E3C7-2E77-AD8F7A06B374}"/>
                  </a:ext>
                </a:extLst>
              </p:cNvPr>
              <p:cNvSpPr>
                <a:spLocks noChangeArrowheads="1"/>
              </p:cNvSpPr>
              <p:nvPr/>
            </p:nvSpPr>
            <p:spPr bwMode="auto">
              <a:xfrm>
                <a:off x="7343793"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4</a:t>
                </a:r>
                <a:endParaRPr lang="en-US" altLang="en-US" dirty="0"/>
              </a:p>
            </p:txBody>
          </p:sp>
          <p:sp>
            <p:nvSpPr>
              <p:cNvPr id="772" name="Rectangle 559">
                <a:extLst>
                  <a:ext uri="{FF2B5EF4-FFF2-40B4-BE49-F238E27FC236}">
                    <a16:creationId xmlns:a16="http://schemas.microsoft.com/office/drawing/2014/main" id="{28EB021B-3A88-07D4-1D9E-5D5AB1154B0F}"/>
                  </a:ext>
                </a:extLst>
              </p:cNvPr>
              <p:cNvSpPr>
                <a:spLocks noChangeArrowheads="1"/>
              </p:cNvSpPr>
              <p:nvPr/>
            </p:nvSpPr>
            <p:spPr bwMode="auto">
              <a:xfrm>
                <a:off x="7500955" y="2662256"/>
                <a:ext cx="157163"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6</a:t>
                </a:r>
                <a:endParaRPr lang="en-US" altLang="en-US" dirty="0"/>
              </a:p>
            </p:txBody>
          </p:sp>
          <p:sp>
            <p:nvSpPr>
              <p:cNvPr id="773" name="Rectangle 560">
                <a:extLst>
                  <a:ext uri="{FF2B5EF4-FFF2-40B4-BE49-F238E27FC236}">
                    <a16:creationId xmlns:a16="http://schemas.microsoft.com/office/drawing/2014/main" id="{4CA37A34-FC0B-76B6-D786-14ADA24AD0DB}"/>
                  </a:ext>
                </a:extLst>
              </p:cNvPr>
              <p:cNvSpPr>
                <a:spLocks noChangeArrowheads="1"/>
              </p:cNvSpPr>
              <p:nvPr/>
            </p:nvSpPr>
            <p:spPr bwMode="auto">
              <a:xfrm>
                <a:off x="7656530"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28</a:t>
                </a:r>
                <a:endParaRPr lang="en-US" altLang="en-US" dirty="0"/>
              </a:p>
            </p:txBody>
          </p:sp>
          <p:sp>
            <p:nvSpPr>
              <p:cNvPr id="774" name="Rectangle 561">
                <a:extLst>
                  <a:ext uri="{FF2B5EF4-FFF2-40B4-BE49-F238E27FC236}">
                    <a16:creationId xmlns:a16="http://schemas.microsoft.com/office/drawing/2014/main" id="{C103E613-7150-AD0C-53D8-F0580D476F5A}"/>
                  </a:ext>
                </a:extLst>
              </p:cNvPr>
              <p:cNvSpPr>
                <a:spLocks noChangeArrowheads="1"/>
              </p:cNvSpPr>
              <p:nvPr/>
            </p:nvSpPr>
            <p:spPr bwMode="auto">
              <a:xfrm>
                <a:off x="7812105" y="2662256"/>
                <a:ext cx="15875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700" b="0" dirty="0">
                    <a:solidFill>
                      <a:srgbClr val="000000"/>
                    </a:solidFill>
                    <a:latin typeface="Calibri" panose="020F0502020204030204" pitchFamily="34" charset="0"/>
                  </a:rPr>
                  <a:t>30</a:t>
                </a:r>
                <a:endParaRPr lang="en-US" altLang="en-US" dirty="0"/>
              </a:p>
            </p:txBody>
          </p:sp>
          <p:sp>
            <p:nvSpPr>
              <p:cNvPr id="775" name="Rectangle 562">
                <a:extLst>
                  <a:ext uri="{FF2B5EF4-FFF2-40B4-BE49-F238E27FC236}">
                    <a16:creationId xmlns:a16="http://schemas.microsoft.com/office/drawing/2014/main" id="{C591A14A-5DB9-079E-40C9-A26320F2A647}"/>
                  </a:ext>
                </a:extLst>
              </p:cNvPr>
              <p:cNvSpPr>
                <a:spLocks noChangeArrowheads="1"/>
              </p:cNvSpPr>
              <p:nvPr/>
            </p:nvSpPr>
            <p:spPr bwMode="auto">
              <a:xfrm>
                <a:off x="5848368" y="1520843"/>
                <a:ext cx="17240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Tahoma" panose="020B0604030504040204" pitchFamily="34" charset="0"/>
                    <a:cs typeface="Arial" panose="020B0604020202020204" pitchFamily="34" charset="0"/>
                  </a:defRPr>
                </a:lvl1pPr>
                <a:lvl2pPr marL="742950" indent="-285750" eaLnBrk="0" hangingPunct="0">
                  <a:defRPr b="1">
                    <a:solidFill>
                      <a:schemeClr val="tx1"/>
                    </a:solidFill>
                    <a:latin typeface="Tahoma" panose="020B0604030504040204" pitchFamily="34" charset="0"/>
                    <a:cs typeface="Arial" panose="020B0604020202020204" pitchFamily="34" charset="0"/>
                  </a:defRPr>
                </a:lvl2pPr>
                <a:lvl3pPr marL="1143000" indent="-228600" eaLnBrk="0" hangingPunct="0">
                  <a:defRPr b="1">
                    <a:solidFill>
                      <a:schemeClr val="tx1"/>
                    </a:solidFill>
                    <a:latin typeface="Tahoma" panose="020B0604030504040204" pitchFamily="34" charset="0"/>
                    <a:cs typeface="Arial" panose="020B0604020202020204" pitchFamily="34" charset="0"/>
                  </a:defRPr>
                </a:lvl3pPr>
                <a:lvl4pPr marL="1600200" indent="-228600" eaLnBrk="0" hangingPunct="0">
                  <a:defRPr b="1">
                    <a:solidFill>
                      <a:schemeClr val="tx1"/>
                    </a:solidFill>
                    <a:latin typeface="Tahoma" panose="020B0604030504040204" pitchFamily="34" charset="0"/>
                    <a:cs typeface="Arial" panose="020B0604020202020204" pitchFamily="34" charset="0"/>
                  </a:defRPr>
                </a:lvl4pPr>
                <a:lvl5pPr marL="2057400" indent="-228600" eaLnBrk="0" hangingPunct="0">
                  <a:defRPr b="1">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Tahoma" panose="020B0604030504040204" pitchFamily="34" charset="0"/>
                    <a:cs typeface="Arial" panose="020B0604020202020204" pitchFamily="34" charset="0"/>
                  </a:defRPr>
                </a:lvl9pPr>
              </a:lstStyle>
              <a:p>
                <a:pPr eaLnBrk="1" hangingPunct="1"/>
                <a:r>
                  <a:rPr lang="en-US" altLang="en-US" sz="1300" dirty="0">
                    <a:solidFill>
                      <a:srgbClr val="000000"/>
                    </a:solidFill>
                    <a:latin typeface="Calibri" panose="020F0502020204030204" pitchFamily="34" charset="0"/>
                  </a:rPr>
                  <a:t>Non Dimishing Return</a:t>
                </a:r>
                <a:endParaRPr lang="en-US" altLang="en-US" dirty="0"/>
              </a:p>
            </p:txBody>
          </p:sp>
          <p:sp>
            <p:nvSpPr>
              <p:cNvPr id="776" name="Freeform 563">
                <a:extLst>
                  <a:ext uri="{FF2B5EF4-FFF2-40B4-BE49-F238E27FC236}">
                    <a16:creationId xmlns:a16="http://schemas.microsoft.com/office/drawing/2014/main" id="{A1ED57B4-85A9-7B5B-4813-6362B5C62D79}"/>
                  </a:ext>
                </a:extLst>
              </p:cNvPr>
              <p:cNvSpPr>
                <a:spLocks noEditPoints="1"/>
              </p:cNvSpPr>
              <p:nvPr/>
            </p:nvSpPr>
            <p:spPr bwMode="auto">
              <a:xfrm>
                <a:off x="5235593" y="1446231"/>
                <a:ext cx="2773362" cy="1393825"/>
              </a:xfrm>
              <a:custGeom>
                <a:avLst/>
                <a:gdLst>
                  <a:gd name="T0" fmla="*/ 0 w 9800"/>
                  <a:gd name="T1" fmla="*/ 2147483647 h 4936"/>
                  <a:gd name="T2" fmla="*/ 2147483647 w 9800"/>
                  <a:gd name="T3" fmla="*/ 0 h 4936"/>
                  <a:gd name="T4" fmla="*/ 2147483647 w 9800"/>
                  <a:gd name="T5" fmla="*/ 0 h 4936"/>
                  <a:gd name="T6" fmla="*/ 2147483647 w 9800"/>
                  <a:gd name="T7" fmla="*/ 2147483647 h 4936"/>
                  <a:gd name="T8" fmla="*/ 2147483647 w 9800"/>
                  <a:gd name="T9" fmla="*/ 2147483647 h 4936"/>
                  <a:gd name="T10" fmla="*/ 2147483647 w 9800"/>
                  <a:gd name="T11" fmla="*/ 2147483647 h 4936"/>
                  <a:gd name="T12" fmla="*/ 2147483647 w 9800"/>
                  <a:gd name="T13" fmla="*/ 2147483647 h 4936"/>
                  <a:gd name="T14" fmla="*/ 0 w 9800"/>
                  <a:gd name="T15" fmla="*/ 2147483647 h 4936"/>
                  <a:gd name="T16" fmla="*/ 0 w 9800"/>
                  <a:gd name="T17" fmla="*/ 2147483647 h 4936"/>
                  <a:gd name="T18" fmla="*/ 2147483647 w 9800"/>
                  <a:gd name="T19" fmla="*/ 2147483647 h 4936"/>
                  <a:gd name="T20" fmla="*/ 2147483647 w 9800"/>
                  <a:gd name="T21" fmla="*/ 2147483647 h 4936"/>
                  <a:gd name="T22" fmla="*/ 2147483647 w 9800"/>
                  <a:gd name="T23" fmla="*/ 2147483647 h 4936"/>
                  <a:gd name="T24" fmla="*/ 2147483647 w 9800"/>
                  <a:gd name="T25" fmla="*/ 2147483647 h 4936"/>
                  <a:gd name="T26" fmla="*/ 2147483647 w 9800"/>
                  <a:gd name="T27" fmla="*/ 2147483647 h 4936"/>
                  <a:gd name="T28" fmla="*/ 2147483647 w 9800"/>
                  <a:gd name="T29" fmla="*/ 2147483647 h 4936"/>
                  <a:gd name="T30" fmla="*/ 2147483647 w 9800"/>
                  <a:gd name="T31" fmla="*/ 2147483647 h 4936"/>
                  <a:gd name="T32" fmla="*/ 2147483647 w 9800"/>
                  <a:gd name="T33" fmla="*/ 2147483647 h 4936"/>
                  <a:gd name="T34" fmla="*/ 2147483647 w 9800"/>
                  <a:gd name="T35" fmla="*/ 2147483647 h 49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800" h="4936">
                    <a:moveTo>
                      <a:pt x="0" y="12"/>
                    </a:moveTo>
                    <a:cubicBezTo>
                      <a:pt x="0" y="6"/>
                      <a:pt x="6" y="0"/>
                      <a:pt x="12" y="0"/>
                    </a:cubicBezTo>
                    <a:lnTo>
                      <a:pt x="9788" y="0"/>
                    </a:lnTo>
                    <a:cubicBezTo>
                      <a:pt x="9795" y="0"/>
                      <a:pt x="9800" y="6"/>
                      <a:pt x="9800" y="12"/>
                    </a:cubicBezTo>
                    <a:lnTo>
                      <a:pt x="9800" y="4924"/>
                    </a:lnTo>
                    <a:cubicBezTo>
                      <a:pt x="9800" y="4931"/>
                      <a:pt x="9795" y="4936"/>
                      <a:pt x="9788" y="4936"/>
                    </a:cubicBezTo>
                    <a:lnTo>
                      <a:pt x="12" y="4936"/>
                    </a:lnTo>
                    <a:cubicBezTo>
                      <a:pt x="6" y="4936"/>
                      <a:pt x="0" y="4931"/>
                      <a:pt x="0" y="4924"/>
                    </a:cubicBezTo>
                    <a:lnTo>
                      <a:pt x="0" y="12"/>
                    </a:lnTo>
                    <a:close/>
                    <a:moveTo>
                      <a:pt x="24" y="4924"/>
                    </a:moveTo>
                    <a:lnTo>
                      <a:pt x="12" y="4912"/>
                    </a:lnTo>
                    <a:lnTo>
                      <a:pt x="9788" y="4912"/>
                    </a:lnTo>
                    <a:lnTo>
                      <a:pt x="9776" y="4924"/>
                    </a:lnTo>
                    <a:lnTo>
                      <a:pt x="9776" y="12"/>
                    </a:lnTo>
                    <a:lnTo>
                      <a:pt x="9788" y="24"/>
                    </a:lnTo>
                    <a:lnTo>
                      <a:pt x="12" y="24"/>
                    </a:lnTo>
                    <a:lnTo>
                      <a:pt x="24" y="12"/>
                    </a:lnTo>
                    <a:lnTo>
                      <a:pt x="24" y="4924"/>
                    </a:lnTo>
                    <a:close/>
                  </a:path>
                </a:pathLst>
              </a:custGeom>
              <a:solidFill>
                <a:srgbClr val="868686"/>
              </a:solidFill>
              <a:ln w="0" cap="flat">
                <a:solidFill>
                  <a:srgbClr val="868686"/>
                </a:solidFill>
                <a:prstDash val="solid"/>
                <a:round/>
                <a:headEnd/>
                <a:tailEnd/>
              </a:ln>
            </p:spPr>
            <p:txBody>
              <a:bodyPr/>
              <a:lstStyle/>
              <a:p>
                <a:endParaRPr lang="en-US" dirty="0"/>
              </a:p>
            </p:txBody>
          </p:sp>
        </p:grpSp>
      </p:grpSp>
    </p:spTree>
    <p:extLst>
      <p:ext uri="{BB962C8B-B14F-4D97-AF65-F5344CB8AC3E}">
        <p14:creationId xmlns:p14="http://schemas.microsoft.com/office/powerpoint/2010/main" val="249915659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apGaXG7WUicBTfw4LLmew"/>
</p:tagLst>
</file>

<file path=ppt/theme/theme1.xml><?xml version="1.0" encoding="utf-8"?>
<a:theme xmlns:a="http://schemas.openxmlformats.org/drawingml/2006/main" name="Merck 16:9 PPT Theme">
  <a:themeElements>
    <a:clrScheme name="Custom 30">
      <a:dk1>
        <a:srgbClr val="0C2340"/>
      </a:dk1>
      <a:lt1>
        <a:srgbClr val="FFFFFF"/>
      </a:lt1>
      <a:dk2>
        <a:srgbClr val="688CE8"/>
      </a:dk2>
      <a:lt2>
        <a:srgbClr val="69B8F7"/>
      </a:lt2>
      <a:accent1>
        <a:srgbClr val="00857C"/>
      </a:accent1>
      <a:accent2>
        <a:srgbClr val="6ECEB2"/>
      </a:accent2>
      <a:accent3>
        <a:srgbClr val="BFED33"/>
      </a:accent3>
      <a:accent4>
        <a:srgbClr val="0C2340"/>
      </a:accent4>
      <a:accent5>
        <a:srgbClr val="FFF063"/>
      </a:accent5>
      <a:accent6>
        <a:srgbClr val="5350E4"/>
      </a:accent6>
      <a:hlink>
        <a:srgbClr val="11867B"/>
      </a:hlink>
      <a:folHlink>
        <a:srgbClr val="90C4D8"/>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16_9_Merck" id="{6816B23C-D596-B641-AC59-82B9DBB69469}" vid="{EF4CFF4B-FCCB-D84B-8F15-5CBFC5300DB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C47AAA0-3E17-4D17-ACCC-88C0FDDDE60C}">
  <we:reference id="e849ddb8-6bbd-4833-bd4b-59030099d63e" version="1.0.0.0" store="EXCatalog" storeType="EXCatalog"/>
  <we:alternateReferences>
    <we:reference id="WA200000113"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FF678FA71510043B195A1786C6312B0" ma:contentTypeVersion="8" ma:contentTypeDescription="Create a new document." ma:contentTypeScope="" ma:versionID="7f6794eae2ab671940660f7552b83b54">
  <xsd:schema xmlns:xsd="http://www.w3.org/2001/XMLSchema" xmlns:xs="http://www.w3.org/2001/XMLSchema" xmlns:p="http://schemas.microsoft.com/office/2006/metadata/properties" xmlns:ns2="4b8faba5-28e6-4bad-b285-1ce4ed480925" xmlns:ns3="0ed980d0-2f8d-42c7-8d66-3c434fc0ea4b" targetNamespace="http://schemas.microsoft.com/office/2006/metadata/properties" ma:root="true" ma:fieldsID="cafbccc572dc2c0e541192a55a97c71c" ns2:_="" ns3:_="">
    <xsd:import namespace="4b8faba5-28e6-4bad-b285-1ce4ed480925"/>
    <xsd:import namespace="0ed980d0-2f8d-42c7-8d66-3c434fc0ea4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8faba5-28e6-4bad-b285-1ce4ed4809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3f5e642b-91f5-4888-b018-43334a040d0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ed980d0-2f8d-42c7-8d66-3c434fc0ea4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f9753bcd-dfeb-40f7-aae0-e49ee8cc79a7}" ma:internalName="TaxCatchAll" ma:showField="CatchAllData" ma:web="0ed980d0-2f8d-42c7-8d66-3c434fc0ea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b8faba5-28e6-4bad-b285-1ce4ed480925">
      <Terms xmlns="http://schemas.microsoft.com/office/infopath/2007/PartnerControls"/>
    </lcf76f155ced4ddcb4097134ff3c332f>
    <TaxCatchAll xmlns="0ed980d0-2f8d-42c7-8d66-3c434fc0ea4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5DBAF2B-E805-4C9F-908A-2CFAD1FCDE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8faba5-28e6-4bad-b285-1ce4ed480925"/>
    <ds:schemaRef ds:uri="0ed980d0-2f8d-42c7-8d66-3c434fc0ea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A83BC6D-AD32-471F-B528-DB398937D951}">
  <ds:schemaRefs>
    <ds:schemaRef ds:uri="http://schemas.microsoft.com/office/2006/documentManagement/types"/>
    <ds:schemaRef ds:uri="http://www.w3.org/XML/1998/namespace"/>
    <ds:schemaRef ds:uri="http://purl.org/dc/terms/"/>
    <ds:schemaRef ds:uri="4b8faba5-28e6-4bad-b285-1ce4ed480925"/>
    <ds:schemaRef ds:uri="http://schemas.microsoft.com/office/2006/metadata/properties"/>
    <ds:schemaRef ds:uri="http://purl.org/dc/elements/1.1/"/>
    <ds:schemaRef ds:uri="http://purl.org/dc/dcmitype/"/>
    <ds:schemaRef ds:uri="http://schemas.microsoft.com/office/infopath/2007/PartnerControls"/>
    <ds:schemaRef ds:uri="http://schemas.openxmlformats.org/package/2006/metadata/core-properties"/>
    <ds:schemaRef ds:uri="0ed980d0-2f8d-42c7-8d66-3c434fc0ea4b"/>
  </ds:schemaRefs>
</ds:datastoreItem>
</file>

<file path=customXml/itemProps3.xml><?xml version="1.0" encoding="utf-8"?>
<ds:datastoreItem xmlns:ds="http://schemas.openxmlformats.org/officeDocument/2006/customXml" ds:itemID="{CA330566-0913-436A-BAE1-E2499F0F0D6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erck 16_9 default PPT template (1)</Template>
  <TotalTime>5047</TotalTime>
  <Words>1111</Words>
  <Application>Microsoft Office PowerPoint</Application>
  <PresentationFormat>Widescreen</PresentationFormat>
  <Paragraphs>403</Paragraphs>
  <Slides>13</Slides>
  <Notes>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3</vt:i4>
      </vt:variant>
    </vt:vector>
  </HeadingPairs>
  <TitlesOfParts>
    <vt:vector size="22" baseType="lpstr">
      <vt:lpstr>Arial</vt:lpstr>
      <vt:lpstr>Arial Narrow</vt:lpstr>
      <vt:lpstr>Calibri</vt:lpstr>
      <vt:lpstr>Cambria Math</vt:lpstr>
      <vt:lpstr>Courier New</vt:lpstr>
      <vt:lpstr>Invention</vt:lpstr>
      <vt:lpstr>Invention Light</vt:lpstr>
      <vt:lpstr>Tahoma</vt:lpstr>
      <vt:lpstr>Merck 16:9 PPT Theme</vt:lpstr>
      <vt:lpstr>4. Data Transformation</vt:lpstr>
      <vt:lpstr>PowerPoint Presentation</vt:lpstr>
      <vt:lpstr>Decay forms</vt:lpstr>
      <vt:lpstr>Lagged variables</vt:lpstr>
      <vt:lpstr>Lagged variables, Decay Factor and Half life</vt:lpstr>
      <vt:lpstr>Exponential Decay and ‘N’ months decay</vt:lpstr>
      <vt:lpstr>Decay rates ranges for promotional channels </vt:lpstr>
      <vt:lpstr>PowerPoint Presentation</vt:lpstr>
      <vt:lpstr>PowerPoint Presentation</vt:lpstr>
      <vt:lpstr>Graphical Shapes</vt:lpstr>
      <vt:lpstr>Graphical Shapes</vt:lpstr>
      <vt:lpstr>Graphical Shapes</vt:lpstr>
      <vt:lpstr>Root Transform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D University</dc:title>
  <dc:subject>2022 presentation</dc:subject>
  <dc:creator>Sinha, Anurag</dc:creator>
  <cp:keywords/>
  <dc:description>For external audiences in the US and Canada</dc:description>
  <cp:lastModifiedBy>Murugan, Senthil</cp:lastModifiedBy>
  <cp:revision>232</cp:revision>
  <dcterms:created xsi:type="dcterms:W3CDTF">2022-11-08T10:28:18Z</dcterms:created>
  <dcterms:modified xsi:type="dcterms:W3CDTF">2023-09-24T15:29:5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F678FA71510043B195A1786C6312B0</vt:lpwstr>
  </property>
  <property fmtid="{D5CDD505-2E9C-101B-9397-08002B2CF9AE}" pid="3" name="MSIP_Label_927fd646-07cb-4c4e-a107-4e4d6b30ba1b_Enabled">
    <vt:lpwstr>true</vt:lpwstr>
  </property>
  <property fmtid="{D5CDD505-2E9C-101B-9397-08002B2CF9AE}" pid="4" name="MSIP_Label_927fd646-07cb-4c4e-a107-4e4d6b30ba1b_SetDate">
    <vt:lpwstr>2023-02-20T10:11:15Z</vt:lpwstr>
  </property>
  <property fmtid="{D5CDD505-2E9C-101B-9397-08002B2CF9AE}" pid="5" name="MSIP_Label_927fd646-07cb-4c4e-a107-4e4d6b30ba1b_Method">
    <vt:lpwstr>Privileged</vt:lpwstr>
  </property>
  <property fmtid="{D5CDD505-2E9C-101B-9397-08002B2CF9AE}" pid="6" name="MSIP_Label_927fd646-07cb-4c4e-a107-4e4d6b30ba1b_Name">
    <vt:lpwstr>927fd646-07cb-4c4e-a107-4e4d6b30ba1b</vt:lpwstr>
  </property>
  <property fmtid="{D5CDD505-2E9C-101B-9397-08002B2CF9AE}" pid="7" name="MSIP_Label_927fd646-07cb-4c4e-a107-4e4d6b30ba1b_SiteId">
    <vt:lpwstr>a00de4ec-48a8-43a6-be74-e31274e2060d</vt:lpwstr>
  </property>
  <property fmtid="{D5CDD505-2E9C-101B-9397-08002B2CF9AE}" pid="8" name="MSIP_Label_927fd646-07cb-4c4e-a107-4e4d6b30ba1b_ActionId">
    <vt:lpwstr>327d2cb7-7ab1-4f63-99d4-4d87d73f3514</vt:lpwstr>
  </property>
  <property fmtid="{D5CDD505-2E9C-101B-9397-08002B2CF9AE}" pid="9" name="MSIP_Label_927fd646-07cb-4c4e-a107-4e4d6b30ba1b_ContentBits">
    <vt:lpwstr>1</vt:lpwstr>
  </property>
  <property fmtid="{D5CDD505-2E9C-101B-9397-08002B2CF9AE}" pid="10" name="MerckAIPLabel">
    <vt:lpwstr>Proprietary</vt:lpwstr>
  </property>
  <property fmtid="{D5CDD505-2E9C-101B-9397-08002B2CF9AE}" pid="11" name="MerckAIPDataExchange">
    <vt:lpwstr>!MRKMIP@Proprietary</vt:lpwstr>
  </property>
</Properties>
</file>